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8.xml" ContentType="application/vnd.openxmlformats-officedocument.theme+xml"/>
  <Override PartName="/ppt/tags/tag14.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78" r:id="rId5"/>
    <p:sldMasterId id="2147484308" r:id="rId6"/>
    <p:sldMasterId id="2147484340" r:id="rId7"/>
    <p:sldMasterId id="2147484354" r:id="rId8"/>
    <p:sldMasterId id="2147484379" r:id="rId9"/>
    <p:sldMasterId id="2147484387" r:id="rId10"/>
    <p:sldMasterId id="2147484394" r:id="rId11"/>
  </p:sldMasterIdLst>
  <p:notesMasterIdLst>
    <p:notesMasterId r:id="rId25"/>
  </p:notesMasterIdLst>
  <p:handoutMasterIdLst>
    <p:handoutMasterId r:id="rId26"/>
  </p:handoutMasterIdLst>
  <p:sldIdLst>
    <p:sldId id="318" r:id="rId12"/>
    <p:sldId id="360" r:id="rId13"/>
    <p:sldId id="312" r:id="rId14"/>
    <p:sldId id="326" r:id="rId15"/>
    <p:sldId id="327" r:id="rId16"/>
    <p:sldId id="361" r:id="rId17"/>
    <p:sldId id="362" r:id="rId18"/>
    <p:sldId id="367" r:id="rId19"/>
    <p:sldId id="369" r:id="rId20"/>
    <p:sldId id="368" r:id="rId21"/>
    <p:sldId id="363" r:id="rId22"/>
    <p:sldId id="364" r:id="rId23"/>
    <p:sldId id="359" r:id="rId2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uild 2015 Breakout Template" id="{D75A0D65-BF15-4822-BC6D-74C66FDCD9EE}">
          <p14:sldIdLst>
            <p14:sldId id="318"/>
            <p14:sldId id="360"/>
            <p14:sldId id="312"/>
            <p14:sldId id="326"/>
            <p14:sldId id="327"/>
            <p14:sldId id="361"/>
            <p14:sldId id="362"/>
            <p14:sldId id="367"/>
            <p14:sldId id="369"/>
            <p14:sldId id="368"/>
            <p14:sldId id="363"/>
            <p14:sldId id="364"/>
            <p14:sldId id="35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a:srgbClr val="00176B"/>
    <a:srgbClr val="E3008C"/>
    <a:srgbClr val="FFB900"/>
    <a:srgbClr val="107C10"/>
    <a:srgbClr val="FFFFFF"/>
    <a:srgbClr val="232832"/>
    <a:srgbClr val="525252"/>
    <a:srgbClr val="000000"/>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676" autoAdjust="0"/>
    <p:restoredTop sz="85677" autoAdjust="0"/>
  </p:normalViewPr>
  <p:slideViewPr>
    <p:cSldViewPr>
      <p:cViewPr varScale="1">
        <p:scale>
          <a:sx n="82" d="100"/>
          <a:sy n="82" d="100"/>
        </p:scale>
        <p:origin x="1155" y="48"/>
      </p:cViewPr>
      <p:guideLst/>
    </p:cSldViewPr>
  </p:slideViewPr>
  <p:outlineViewPr>
    <p:cViewPr>
      <p:scale>
        <a:sx n="33" d="100"/>
        <a:sy n="33" d="100"/>
      </p:scale>
      <p:origin x="0" y="-852"/>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Build 2015</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25/2018 1:2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latin typeface="Segoe UI" pitchFamily="34" charset="0"/>
              </a:rPr>
              <a:t>Build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2/25/2018 1:20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2/25/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5423881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2/25/2018</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4645452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7D55269-7644-44F4-812F-4C5E39B4A111}" type="datetime1">
              <a:rPr lang="en-US" smtClean="0">
                <a:solidFill>
                  <a:prstClr val="black"/>
                </a:solidFill>
              </a:rPr>
              <a:pPr/>
              <a:t>2/25/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862005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0E0F7949-8AE9-4E5C-A2B1-913685B47E3F}" type="slidenum">
              <a:rPr lang="en-US" smtClean="0">
                <a:solidFill>
                  <a:prstClr val="black"/>
                </a:solidFill>
              </a:rPr>
              <a:pPr>
                <a:defRPr/>
              </a:pPr>
              <a:t>5</a:t>
            </a:fld>
            <a:endParaRPr lang="en-US">
              <a:solidFill>
                <a:prstClr val="black"/>
              </a:solidFill>
            </a:endParaRPr>
          </a:p>
        </p:txBody>
      </p:sp>
    </p:spTree>
    <p:extLst>
      <p:ext uri="{BB962C8B-B14F-4D97-AF65-F5344CB8AC3E}">
        <p14:creationId xmlns:p14="http://schemas.microsoft.com/office/powerpoint/2010/main" val="19793620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2/25/2018 1: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5364711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2/25/2018 1: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5422558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2/25/2018 1: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980235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2/25/2018 1: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082259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2/25/2018 1: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0564621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Ignite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2/25/2018 1:2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5836039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2.pn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image" Target="../media/image11.png"/></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image" Target="../media/image7.jpg"/></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jp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8.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image" Target="../media/image7.jpg"/></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7.jpg"/><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6.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3983411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4600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221751386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199">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52828243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80225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with Sub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8641" y="233152"/>
            <a:ext cx="11516556" cy="565027"/>
          </a:xfrm>
          <a:prstGeom prst="rect">
            <a:avLst/>
          </a:prstGeom>
        </p:spPr>
        <p:txBody>
          <a:bodyPr/>
          <a:lstStyle/>
          <a:p>
            <a:r>
              <a:rPr lang="en-US" dirty="0"/>
              <a:t>Title and content</a:t>
            </a:r>
          </a:p>
        </p:txBody>
      </p:sp>
      <p:sp>
        <p:nvSpPr>
          <p:cNvPr id="8" name="Text Placeholder 7"/>
          <p:cNvSpPr>
            <a:spLocks noGrp="1"/>
          </p:cNvSpPr>
          <p:nvPr>
            <p:ph type="body" sz="quarter" idx="10"/>
          </p:nvPr>
        </p:nvSpPr>
        <p:spPr>
          <a:xfrm>
            <a:off x="388640" y="1636008"/>
            <a:ext cx="11586326"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1"/>
          </p:nvPr>
        </p:nvSpPr>
        <p:spPr>
          <a:xfrm>
            <a:off x="388640" y="798218"/>
            <a:ext cx="11516694" cy="433187"/>
          </a:xfrm>
        </p:spPr>
        <p:txBody>
          <a:bodyPr/>
          <a:lstStyle>
            <a:lvl1pPr>
              <a:defRPr sz="2448">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181024488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with Sub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8641" y="233152"/>
            <a:ext cx="11516556" cy="565027"/>
          </a:xfrm>
          <a:prstGeom prst="rect">
            <a:avLst/>
          </a:prstGeom>
        </p:spPr>
        <p:txBody>
          <a:bodyPr/>
          <a:lstStyle/>
          <a:p>
            <a:r>
              <a:rPr lang="en-US" dirty="0"/>
              <a:t>Title and content</a:t>
            </a:r>
          </a:p>
        </p:txBody>
      </p:sp>
      <p:sp>
        <p:nvSpPr>
          <p:cNvPr id="10" name="Text Placeholder 9"/>
          <p:cNvSpPr>
            <a:spLocks noGrp="1"/>
          </p:cNvSpPr>
          <p:nvPr>
            <p:ph type="body" sz="quarter" idx="11"/>
          </p:nvPr>
        </p:nvSpPr>
        <p:spPr>
          <a:xfrm>
            <a:off x="388640" y="798218"/>
            <a:ext cx="11516694" cy="433187"/>
          </a:xfrm>
        </p:spPr>
        <p:txBody>
          <a:bodyPr/>
          <a:lstStyle>
            <a:lvl1pPr>
              <a:defRPr sz="2448">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236643501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UE 2 COLUMN">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Text Placeholder 8"/>
          <p:cNvSpPr>
            <a:spLocks noGrp="1"/>
          </p:cNvSpPr>
          <p:nvPr>
            <p:ph type="body" sz="quarter" idx="15"/>
          </p:nvPr>
        </p:nvSpPr>
        <p:spPr>
          <a:xfrm>
            <a:off x="388640" y="1215585"/>
            <a:ext cx="5288498" cy="1720343"/>
          </a:xfrm>
          <a:prstGeom prst="rect">
            <a:avLst/>
          </a:prstGeom>
        </p:spPr>
        <p:txBody>
          <a:bodyPr/>
          <a:lstStyle>
            <a:lvl1pPr>
              <a:defRPr>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6"/>
          </p:nvPr>
        </p:nvSpPr>
        <p:spPr>
          <a:xfrm>
            <a:off x="6218238" y="1215585"/>
            <a:ext cx="4664893" cy="2172454"/>
          </a:xfrm>
          <a:prstGeom prst="rect">
            <a:avLst/>
          </a:prstGeom>
        </p:spPr>
        <p:txBody>
          <a:bodyPr/>
          <a:lstStyle>
            <a:lvl1pPr>
              <a:defRPr>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386189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UE 3 COLUMN">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88640" y="1632056"/>
            <a:ext cx="3731915" cy="1932388"/>
          </a:xfrm>
          <a:prstGeom prst="rect">
            <a:avLst/>
          </a:prstGeom>
        </p:spPr>
        <p:txBody>
          <a:bodyPr/>
          <a:lstStyle>
            <a:lvl1pPr>
              <a:defRPr lang="en-US" sz="3264" kern="4000" spc="-102"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sz="1632"/>
            </a:lvl2pPr>
            <a:lvl3pPr>
              <a:defRPr sz="1224"/>
            </a:lvl3pPr>
            <a:lvl4pPr>
              <a:defRPr sz="1071"/>
            </a:lvl4pPr>
            <a:lvl5pPr>
              <a:defRPr sz="107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1"/>
          </p:nvPr>
        </p:nvSpPr>
        <p:spPr>
          <a:xfrm>
            <a:off x="4353800" y="1632056"/>
            <a:ext cx="3731915" cy="1904176"/>
          </a:xfrm>
          <a:prstGeom prst="rect">
            <a:avLst/>
          </a:prstGeom>
        </p:spPr>
        <p:txBody>
          <a:bodyPr/>
          <a:lstStyle>
            <a:lvl1pPr>
              <a:defRPr lang="en-US" sz="3264" kern="4000" spc="-102"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32"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22"/>
            </a:lvl3pPr>
            <a:lvl4pPr>
              <a:defRPr sz="1020"/>
            </a:lvl4pPr>
            <a:lvl5pPr>
              <a:defRPr sz="10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2"/>
          </p:nvPr>
        </p:nvSpPr>
        <p:spPr>
          <a:xfrm>
            <a:off x="8318958" y="1632056"/>
            <a:ext cx="3731915" cy="1904176"/>
          </a:xfrm>
          <a:prstGeom prst="rect">
            <a:avLst/>
          </a:prstGeom>
        </p:spPr>
        <p:txBody>
          <a:bodyPr/>
          <a:lstStyle>
            <a:lvl1pPr>
              <a:defRPr lang="en-US" sz="3264" kern="4000" spc="-102"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32"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122"/>
            </a:lvl3pPr>
            <a:lvl4pPr>
              <a:defRPr sz="1020"/>
            </a:lvl4pPr>
            <a:lvl5pPr>
              <a:defRPr sz="10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3"/>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909938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UE | SIDE">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5311105" y="233152"/>
            <a:ext cx="6594090" cy="565027"/>
          </a:xfrm>
          <a:prstGeom prst="rect">
            <a:avLst/>
          </a:prstGeo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311106" y="1204613"/>
            <a:ext cx="6594091" cy="1480277"/>
          </a:xfrm>
          <a:prstGeom prst="rect">
            <a:avLst/>
          </a:prstGeom>
        </p:spPr>
        <p:txBody>
          <a:bodyPr/>
          <a:lstStyle>
            <a:lvl1pPr>
              <a:defRPr lang="en-US" sz="3264" kern="4000" spc="-102" baseline="0" dirty="0" smtClean="0">
                <a:gradFill flip="none" rotWithShape="1">
                  <a:gsLst>
                    <a:gs pos="0">
                      <a:schemeClr val="accent1"/>
                    </a:gs>
                    <a:gs pos="87000">
                      <a:schemeClr val="accent1"/>
                    </a:gs>
                  </a:gsLst>
                  <a:path path="circle">
                    <a:fillToRect r="100000" b="100000"/>
                  </a:path>
                  <a:tileRect l="-100000" t="-100000"/>
                </a:gradFill>
                <a:latin typeface="Segoe UI Light" pitchFamily="34" charset="0"/>
                <a:ea typeface="+mn-ea"/>
                <a:cs typeface="+mn-cs"/>
              </a:defRPr>
            </a:lvl1pPr>
            <a:lvl2pPr>
              <a:defRPr lang="en-US" sz="1632" kern="4000" spc="0" baseline="0" dirty="0" smtClean="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a:defRPr sz="1224"/>
            </a:lvl3pPr>
            <a:lvl4pPr>
              <a:defRPr sz="1071"/>
            </a:lvl4pPr>
            <a:lvl5pPr>
              <a:defRPr sz="107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48556400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 GREY Non-Bulleted Content">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88640" y="1215585"/>
            <a:ext cx="11773365" cy="1522725"/>
          </a:xfrm>
          <a:prstGeom prst="rect">
            <a:avLst/>
          </a:prstGeom>
        </p:spPr>
        <p:txBody>
          <a:bodyPr/>
          <a:lstStyle>
            <a:lvl1pPr>
              <a:defRPr lang="en-US" sz="3264" b="0" kern="4000" cap="none" spc="-102"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a:lvl2pPr>
              <a:defRPr sz="1632"/>
            </a:lvl2pPr>
            <a:lvl3pPr>
              <a:defRPr sz="1428"/>
            </a:lvl3pPr>
            <a:lvl4pPr>
              <a:defRPr sz="1122"/>
            </a:lvl4pPr>
            <a:lvl5pPr>
              <a:defRPr sz="112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88641" y="233152"/>
            <a:ext cx="11516556" cy="565027"/>
          </a:xfrm>
          <a:prstGeom prst="rect">
            <a:avLst/>
          </a:prstGeom>
        </p:spPr>
        <p:txBody>
          <a:bodyPr/>
          <a:lstStyle/>
          <a:p>
            <a:r>
              <a:rPr lang="en-US"/>
              <a:t>Click to edit Master title style</a:t>
            </a:r>
            <a:endParaRPr lang="en-US" dirty="0"/>
          </a:p>
        </p:txBody>
      </p:sp>
      <p:sp>
        <p:nvSpPr>
          <p:cNvPr id="3" name="Slide Number Placeholder 2"/>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13110812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619560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34522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2pt Sentance Headline">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a:xfrm>
            <a:off x="392526" y="233151"/>
            <a:ext cx="11659011" cy="452021"/>
          </a:xfrm>
        </p:spPr>
        <p:txBody>
          <a:bodyPr/>
          <a:lstStyle>
            <a:lvl1pPr>
              <a:defRPr sz="3264"/>
            </a:lvl1pPr>
          </a:lstStyle>
          <a:p>
            <a:r>
              <a:rPr lang="en-US"/>
              <a:t>Click to edit Master title style</a:t>
            </a:r>
          </a:p>
        </p:txBody>
      </p:sp>
    </p:spTree>
    <p:extLst>
      <p:ext uri="{BB962C8B-B14F-4D97-AF65-F5344CB8AC3E}">
        <p14:creationId xmlns:p14="http://schemas.microsoft.com/office/powerpoint/2010/main" val="243713432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39558381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If Bullets are required ">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00295" y="1215585"/>
            <a:ext cx="11428988" cy="1726993"/>
          </a:xfrm>
        </p:spPr>
        <p:txBody>
          <a:bodyPr/>
          <a:lstStyle>
            <a:lvl2pPr marL="296294" indent="-296294">
              <a:buFont typeface="Arial" panose="020B0604020202020204" pitchFamily="34" charset="0"/>
              <a:buChar char="•"/>
              <a:defRPr/>
            </a:lvl2pPr>
            <a:lvl3pPr marL="581254" indent="-291436">
              <a:buFont typeface="Arial" panose="020B0604020202020204" pitchFamily="34" charset="0"/>
              <a:buChar char="•"/>
              <a:defRPr/>
            </a:lvl3pPr>
            <a:lvl4pPr marL="811165" indent="-291436">
              <a:buFont typeface="Arial" panose="020B0604020202020204" pitchFamily="34" charset="0"/>
              <a:buChar char="•"/>
              <a:defRPr/>
            </a:lvl4pPr>
            <a:lvl5pPr marL="1054029" indent="-291436">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DC3C00"/>
                </a:solidFill>
              </a:rPr>
              <a:pPr/>
              <a:t>‹#›</a:t>
            </a:fld>
            <a:endParaRPr lang="en-US">
              <a:solidFill>
                <a:srgbClr val="DC3C00"/>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389827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ub head Bullets are required ">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00238" y="1642369"/>
            <a:ext cx="11428988" cy="1726993"/>
          </a:xfrm>
        </p:spPr>
        <p:txBody>
          <a:bodyPr/>
          <a:lstStyle>
            <a:lvl2pPr marL="296294" indent="-296294">
              <a:buFont typeface="Arial" panose="020B0604020202020204" pitchFamily="34" charset="0"/>
              <a:buChar char="•"/>
              <a:defRPr/>
            </a:lvl2pPr>
            <a:lvl3pPr marL="581254" indent="-291436">
              <a:buFont typeface="Arial" panose="020B0604020202020204" pitchFamily="34" charset="0"/>
              <a:buChar char="•"/>
              <a:defRPr/>
            </a:lvl3pPr>
            <a:lvl4pPr marL="811165" indent="-291436">
              <a:buFont typeface="Arial" panose="020B0604020202020204" pitchFamily="34" charset="0"/>
              <a:buChar char="•"/>
              <a:defRPr/>
            </a:lvl4pPr>
            <a:lvl5pPr marL="1054029" indent="-291436">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1"/>
          <p:cNvSpPr>
            <a:spLocks noGrp="1"/>
          </p:cNvSpPr>
          <p:nvPr>
            <p:ph type="sldNum" sz="quarter" idx="11"/>
          </p:nvPr>
        </p:nvSpPr>
        <p:spPr/>
        <p:txBody>
          <a:bodyPr/>
          <a:lstStyle/>
          <a:p>
            <a:fld id="{4CED8391-71CF-4FD3-A093-40D26DE2D47C}" type="slidenum">
              <a:rPr lang="en-US" smtClean="0">
                <a:solidFill>
                  <a:srgbClr val="DC3C00"/>
                </a:solidFill>
              </a:rPr>
              <a:pPr/>
              <a:t>‹#›</a:t>
            </a:fld>
            <a:endParaRPr lang="en-US">
              <a:solidFill>
                <a:srgbClr val="DC3C00"/>
              </a:solidFill>
            </a:endParaRPr>
          </a:p>
        </p:txBody>
      </p:sp>
      <p:sp>
        <p:nvSpPr>
          <p:cNvPr id="4" name="Title 3"/>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388640" y="798218"/>
            <a:ext cx="11440586" cy="433187"/>
          </a:xfrm>
        </p:spPr>
        <p:txBody>
          <a:bodyPr/>
          <a:lstStyle>
            <a:lvl1pPr>
              <a:defRPr sz="2448">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355364548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109713" y="2083046"/>
            <a:ext cx="10586477" cy="1618135"/>
          </a:xfrm>
          <a:prstGeom prst="rect">
            <a:avLst/>
          </a:prstGeom>
        </p:spPr>
        <p:txBody>
          <a:bodyPr/>
          <a:lstStyle>
            <a:lvl1pPr marL="0" indent="0" defTabSz="685783">
              <a:spcBef>
                <a:spcPts val="1800"/>
              </a:spcBef>
              <a:buSzPct val="90000"/>
              <a:buNone/>
              <a:defRPr lang="en-US" spc="0" dirty="0">
                <a:solidFill>
                  <a:schemeClr val="accent1"/>
                </a:solidFill>
              </a:defRPr>
            </a:lvl1pPr>
          </a:lstStyle>
          <a:p>
            <a:pPr defTabSz="672402">
              <a:spcBef>
                <a:spcPts val="1765"/>
              </a:spcBef>
              <a:buSzPct val="90000"/>
            </a:pPr>
            <a:r>
              <a:rPr lang="en-US" sz="3672" kern="4000" dirty="0">
                <a:solidFill>
                  <a:srgbClr val="DC3C00"/>
                </a:solidFill>
                <a:latin typeface="+mj-lt"/>
              </a:rPr>
              <a:t>The network of physical objects that contain embedded technology to communicate and interact with their internal states or the external environment.</a:t>
            </a:r>
          </a:p>
        </p:txBody>
      </p:sp>
      <p:sp>
        <p:nvSpPr>
          <p:cNvPr id="10" name="Text Placeholder 9"/>
          <p:cNvSpPr>
            <a:spLocks noGrp="1"/>
          </p:cNvSpPr>
          <p:nvPr>
            <p:ph type="body" sz="quarter" idx="11" hasCustomPrompt="1"/>
          </p:nvPr>
        </p:nvSpPr>
        <p:spPr>
          <a:xfrm>
            <a:off x="7060041" y="5771383"/>
            <a:ext cx="4636149" cy="459826"/>
          </a:xfrm>
          <a:prstGeom prst="rect">
            <a:avLst/>
          </a:prstGeom>
        </p:spPr>
        <p:txBody>
          <a:bodyPr>
            <a:normAutofit/>
          </a:bodyPr>
          <a:lstStyle>
            <a:lvl1pPr marL="0" indent="0" algn="r">
              <a:buNone/>
              <a:defRPr sz="1224">
                <a:solidFill>
                  <a:srgbClr val="000000"/>
                </a:solidFill>
              </a:defRPr>
            </a:lvl1pPr>
          </a:lstStyle>
          <a:p>
            <a:pPr lvl="0"/>
            <a:r>
              <a:rPr lang="en-US" dirty="0"/>
              <a:t>Source</a:t>
            </a:r>
          </a:p>
        </p:txBody>
      </p:sp>
      <p:sp>
        <p:nvSpPr>
          <p:cNvPr id="3" name="Title 2"/>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97854859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UE | SIDE TEXT">
    <p:bg>
      <p:bgPr>
        <a:solidFill>
          <a:schemeClr val="accent1"/>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352284" y="1398906"/>
            <a:ext cx="7619324" cy="1741642"/>
          </a:xfrm>
          <a:prstGeom prst="rect">
            <a:avLst/>
          </a:prstGeom>
        </p:spPr>
        <p:txBody>
          <a:bodyPr rIns="91440"/>
          <a:lstStyle>
            <a:lvl1pPr marL="0" indent="0">
              <a:spcBef>
                <a:spcPts val="1836"/>
              </a:spcBef>
              <a:buFont typeface="Arial" pitchFamily="34" charset="0"/>
              <a:buNone/>
              <a:defRPr lang="en-US" sz="3264" kern="4000" spc="-102"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620" indent="0">
              <a:spcBef>
                <a:spcPts val="510"/>
              </a:spcBef>
              <a:buFont typeface="Arial" pitchFamily="34" charset="0"/>
              <a:buNone/>
              <a:tabLst/>
              <a:defRPr sz="1836">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10"/>
              </a:spcBef>
              <a:buFont typeface="Arial" pitchFamily="34" charset="0"/>
              <a:buNone/>
              <a:defRPr sz="1428">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10"/>
              </a:spcBef>
              <a:buFont typeface="Arial" pitchFamily="34" charset="0"/>
              <a:buNone/>
              <a:defRPr sz="1122">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10"/>
              </a:spcBef>
              <a:buFont typeface="Arial" pitchFamily="34" charset="0"/>
              <a:buNone/>
              <a:defRPr sz="1122">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99699" rtl="0" eaLnBrk="1" latinLnBrk="0" hangingPunct="1">
              <a:lnSpc>
                <a:spcPct val="90000"/>
              </a:lnSpc>
              <a:spcBef>
                <a:spcPct val="20000"/>
              </a:spcBef>
              <a:buSzPct val="90000"/>
              <a:buFont typeface="Arial" pitchFamily="34" charset="0"/>
              <a:buNone/>
            </a:pPr>
            <a:r>
              <a:rPr lang="en-US"/>
              <a:t>Click to edit Master text styles</a:t>
            </a:r>
          </a:p>
          <a:p>
            <a:pPr marL="0" lvl="1" indent="0" algn="l" defTabSz="699699" rtl="0" eaLnBrk="1" latinLnBrk="0" hangingPunct="1">
              <a:lnSpc>
                <a:spcPct val="90000"/>
              </a:lnSpc>
              <a:spcBef>
                <a:spcPct val="20000"/>
              </a:spcBef>
              <a:buSzPct val="90000"/>
              <a:buFont typeface="Arial" pitchFamily="34" charset="0"/>
              <a:buNone/>
            </a:pPr>
            <a:r>
              <a:rPr lang="en-US"/>
              <a:t>Second level</a:t>
            </a:r>
          </a:p>
          <a:p>
            <a:pPr marL="0" lvl="2" indent="0" algn="l" defTabSz="699699" rtl="0" eaLnBrk="1" latinLnBrk="0" hangingPunct="1">
              <a:lnSpc>
                <a:spcPct val="90000"/>
              </a:lnSpc>
              <a:spcBef>
                <a:spcPct val="20000"/>
              </a:spcBef>
              <a:buSzPct val="90000"/>
              <a:buFont typeface="Arial" pitchFamily="34" charset="0"/>
              <a:buNone/>
            </a:pPr>
            <a:r>
              <a:rPr lang="en-US"/>
              <a:t>Third level</a:t>
            </a:r>
          </a:p>
          <a:p>
            <a:pPr marL="0" lvl="3" indent="0" algn="l" defTabSz="699699" rtl="0" eaLnBrk="1" latinLnBrk="0" hangingPunct="1">
              <a:lnSpc>
                <a:spcPct val="90000"/>
              </a:lnSpc>
              <a:spcBef>
                <a:spcPct val="20000"/>
              </a:spcBef>
              <a:buSzPct val="90000"/>
              <a:buFont typeface="Arial" pitchFamily="34" charset="0"/>
              <a:buNone/>
            </a:pPr>
            <a:r>
              <a:rPr lang="en-US"/>
              <a:t>Fourth level</a:t>
            </a:r>
          </a:p>
          <a:p>
            <a:pPr marL="0" lvl="4" indent="0" algn="l" defTabSz="699699" rtl="0" eaLnBrk="1" latinLnBrk="0" hangingPunct="1">
              <a:lnSpc>
                <a:spcPct val="90000"/>
              </a:lnSpc>
              <a:spcBef>
                <a:spcPct val="20000"/>
              </a:spcBef>
              <a:buSzPct val="90000"/>
              <a:buFont typeface="Arial" pitchFamily="34" charset="0"/>
              <a:buNone/>
            </a:pPr>
            <a:r>
              <a:rPr lang="en-US"/>
              <a:t>Fifth level</a:t>
            </a:r>
            <a:endParaRPr lang="en-US" dirty="0"/>
          </a:p>
        </p:txBody>
      </p:sp>
      <p:sp>
        <p:nvSpPr>
          <p:cNvPr id="2" name="Title 1"/>
          <p:cNvSpPr>
            <a:spLocks noGrp="1"/>
          </p:cNvSpPr>
          <p:nvPr>
            <p:ph type="title"/>
          </p:nvPr>
        </p:nvSpPr>
        <p:spPr>
          <a:xfrm>
            <a:off x="4352283" y="233152"/>
            <a:ext cx="7552915" cy="621530"/>
          </a:xfrm>
          <a:prstGeom prst="rect">
            <a:avLst/>
          </a:prstGeom>
        </p:spPr>
        <p:txBody>
          <a:bodyPr/>
          <a:lstStyle>
            <a:lvl1pPr>
              <a:defRPr lang="en-US" sz="4488" b="0" kern="1200" cap="none" spc="-102"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185414925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Red | SIDE TEXT">
    <p:bg>
      <p:bgPr>
        <a:solidFill>
          <a:schemeClr val="accent2"/>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352284" y="1398906"/>
            <a:ext cx="7541576" cy="1741642"/>
          </a:xfrm>
          <a:prstGeom prst="rect">
            <a:avLst/>
          </a:prstGeom>
        </p:spPr>
        <p:txBody>
          <a:bodyPr rIns="91440"/>
          <a:lstStyle>
            <a:lvl1pPr marL="0" indent="0">
              <a:spcBef>
                <a:spcPts val="1836"/>
              </a:spcBef>
              <a:buFont typeface="Arial" pitchFamily="34" charset="0"/>
              <a:buNone/>
              <a:defRPr lang="en-US" sz="3264" kern="4000" spc="-102"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620" indent="0">
              <a:spcBef>
                <a:spcPts val="510"/>
              </a:spcBef>
              <a:buFont typeface="Arial" pitchFamily="34" charset="0"/>
              <a:buNone/>
              <a:tabLst/>
              <a:defRPr lang="en-US" sz="1836" kern="4000" spc="0"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n-lt"/>
                <a:ea typeface="+mn-ea"/>
                <a:cs typeface="+mn-cs"/>
              </a:defRPr>
            </a:lvl2pPr>
            <a:lvl3pPr marL="0" indent="0">
              <a:spcBef>
                <a:spcPts val="510"/>
              </a:spcBef>
              <a:buFont typeface="Arial" pitchFamily="34" charset="0"/>
              <a:buNone/>
              <a:defRPr sz="1428">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10"/>
              </a:spcBef>
              <a:buFont typeface="Arial" pitchFamily="34" charset="0"/>
              <a:buNone/>
              <a:defRPr sz="1122">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10"/>
              </a:spcBef>
              <a:buFont typeface="Arial" pitchFamily="34" charset="0"/>
              <a:buNone/>
              <a:defRPr sz="1122">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99699" rtl="0" eaLnBrk="1" latinLnBrk="0" hangingPunct="1">
              <a:lnSpc>
                <a:spcPct val="90000"/>
              </a:lnSpc>
              <a:spcBef>
                <a:spcPct val="20000"/>
              </a:spcBef>
              <a:buSzPct val="90000"/>
              <a:buFont typeface="Arial" pitchFamily="34" charset="0"/>
              <a:buNone/>
            </a:pPr>
            <a:r>
              <a:rPr lang="en-US"/>
              <a:t>Click to edit Master text styles</a:t>
            </a:r>
          </a:p>
          <a:p>
            <a:pPr marL="0" lvl="1" indent="0" algn="l" defTabSz="699699" rtl="0" eaLnBrk="1" latinLnBrk="0" hangingPunct="1">
              <a:lnSpc>
                <a:spcPct val="90000"/>
              </a:lnSpc>
              <a:spcBef>
                <a:spcPct val="20000"/>
              </a:spcBef>
              <a:buSzPct val="90000"/>
              <a:buFont typeface="Arial" pitchFamily="34" charset="0"/>
              <a:buNone/>
            </a:pPr>
            <a:r>
              <a:rPr lang="en-US"/>
              <a:t>Second level</a:t>
            </a:r>
          </a:p>
          <a:p>
            <a:pPr marL="0" lvl="2" indent="0" algn="l" defTabSz="699699" rtl="0" eaLnBrk="1" latinLnBrk="0" hangingPunct="1">
              <a:lnSpc>
                <a:spcPct val="90000"/>
              </a:lnSpc>
              <a:spcBef>
                <a:spcPct val="20000"/>
              </a:spcBef>
              <a:buSzPct val="90000"/>
              <a:buFont typeface="Arial" pitchFamily="34" charset="0"/>
              <a:buNone/>
            </a:pPr>
            <a:r>
              <a:rPr lang="en-US"/>
              <a:t>Third level</a:t>
            </a:r>
          </a:p>
          <a:p>
            <a:pPr marL="0" lvl="3" indent="0" algn="l" defTabSz="699699" rtl="0" eaLnBrk="1" latinLnBrk="0" hangingPunct="1">
              <a:lnSpc>
                <a:spcPct val="90000"/>
              </a:lnSpc>
              <a:spcBef>
                <a:spcPct val="20000"/>
              </a:spcBef>
              <a:buSzPct val="90000"/>
              <a:buFont typeface="Arial" pitchFamily="34" charset="0"/>
              <a:buNone/>
            </a:pPr>
            <a:r>
              <a:rPr lang="en-US"/>
              <a:t>Fourth level</a:t>
            </a:r>
          </a:p>
          <a:p>
            <a:pPr marL="0" lvl="4" indent="0" algn="l" defTabSz="699699" rtl="0" eaLnBrk="1" latinLnBrk="0" hangingPunct="1">
              <a:lnSpc>
                <a:spcPct val="90000"/>
              </a:lnSpc>
              <a:spcBef>
                <a:spcPct val="20000"/>
              </a:spcBef>
              <a:buSzPct val="90000"/>
              <a:buFont typeface="Arial" pitchFamily="34" charset="0"/>
              <a:buNone/>
            </a:pPr>
            <a:r>
              <a:rPr lang="en-US"/>
              <a:t>Fifth level</a:t>
            </a:r>
            <a:endParaRPr lang="en-US" dirty="0"/>
          </a:p>
        </p:txBody>
      </p:sp>
      <p:sp>
        <p:nvSpPr>
          <p:cNvPr id="2" name="Title 1"/>
          <p:cNvSpPr>
            <a:spLocks noGrp="1"/>
          </p:cNvSpPr>
          <p:nvPr>
            <p:ph type="title"/>
          </p:nvPr>
        </p:nvSpPr>
        <p:spPr>
          <a:xfrm>
            <a:off x="4352283" y="233152"/>
            <a:ext cx="7552915" cy="621530"/>
          </a:xfrm>
          <a:prstGeom prst="rect">
            <a:avLst/>
          </a:prstGeom>
        </p:spPr>
        <p:txBody>
          <a:bodyPr/>
          <a:lstStyle>
            <a:lvl1pPr>
              <a:defRPr lang="en-US" sz="4488" b="0" kern="1200" cap="none" spc="-102"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418118358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GREEN | SIDE TEXT">
    <p:bg>
      <p:bgPr>
        <a:solidFill>
          <a:schemeClr val="accent3"/>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352284" y="1398906"/>
            <a:ext cx="7619324" cy="1741642"/>
          </a:xfrm>
          <a:prstGeom prst="rect">
            <a:avLst/>
          </a:prstGeom>
        </p:spPr>
        <p:txBody>
          <a:bodyPr rIns="91440"/>
          <a:lstStyle>
            <a:lvl1pPr marL="0" indent="0">
              <a:spcBef>
                <a:spcPts val="1836"/>
              </a:spcBef>
              <a:buFont typeface="Arial" pitchFamily="34" charset="0"/>
              <a:buNone/>
              <a:defRPr lang="en-US" sz="3264" kern="4000" spc="-102"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620" indent="0">
              <a:spcBef>
                <a:spcPts val="510"/>
              </a:spcBef>
              <a:buFont typeface="Arial" pitchFamily="34" charset="0"/>
              <a:buNone/>
              <a:tabLst/>
              <a:defRPr sz="1836">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10"/>
              </a:spcBef>
              <a:buFont typeface="Arial" pitchFamily="34" charset="0"/>
              <a:buNone/>
              <a:defRPr sz="1428">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10"/>
              </a:spcBef>
              <a:buFont typeface="Arial" pitchFamily="34" charset="0"/>
              <a:buNone/>
              <a:defRPr sz="1122">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10"/>
              </a:spcBef>
              <a:buFont typeface="Arial" pitchFamily="34" charset="0"/>
              <a:buNone/>
              <a:defRPr sz="1122">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99699" rtl="0" eaLnBrk="1" latinLnBrk="0" hangingPunct="1">
              <a:lnSpc>
                <a:spcPct val="90000"/>
              </a:lnSpc>
              <a:spcBef>
                <a:spcPct val="20000"/>
              </a:spcBef>
              <a:buSzPct val="90000"/>
              <a:buFont typeface="Arial" pitchFamily="34" charset="0"/>
              <a:buNone/>
            </a:pPr>
            <a:r>
              <a:rPr lang="en-US"/>
              <a:t>Click to edit Master text styles</a:t>
            </a:r>
          </a:p>
          <a:p>
            <a:pPr marL="0" lvl="1" indent="0" algn="l" defTabSz="699699" rtl="0" eaLnBrk="1" latinLnBrk="0" hangingPunct="1">
              <a:lnSpc>
                <a:spcPct val="90000"/>
              </a:lnSpc>
              <a:spcBef>
                <a:spcPct val="20000"/>
              </a:spcBef>
              <a:buSzPct val="90000"/>
              <a:buFont typeface="Arial" pitchFamily="34" charset="0"/>
              <a:buNone/>
            </a:pPr>
            <a:r>
              <a:rPr lang="en-US"/>
              <a:t>Second level</a:t>
            </a:r>
          </a:p>
          <a:p>
            <a:pPr marL="0" lvl="2" indent="0" algn="l" defTabSz="699699" rtl="0" eaLnBrk="1" latinLnBrk="0" hangingPunct="1">
              <a:lnSpc>
                <a:spcPct val="90000"/>
              </a:lnSpc>
              <a:spcBef>
                <a:spcPct val="20000"/>
              </a:spcBef>
              <a:buSzPct val="90000"/>
              <a:buFont typeface="Arial" pitchFamily="34" charset="0"/>
              <a:buNone/>
            </a:pPr>
            <a:r>
              <a:rPr lang="en-US"/>
              <a:t>Third level</a:t>
            </a:r>
          </a:p>
          <a:p>
            <a:pPr marL="0" lvl="3" indent="0" algn="l" defTabSz="699699" rtl="0" eaLnBrk="1" latinLnBrk="0" hangingPunct="1">
              <a:lnSpc>
                <a:spcPct val="90000"/>
              </a:lnSpc>
              <a:spcBef>
                <a:spcPct val="20000"/>
              </a:spcBef>
              <a:buSzPct val="90000"/>
              <a:buFont typeface="Arial" pitchFamily="34" charset="0"/>
              <a:buNone/>
            </a:pPr>
            <a:r>
              <a:rPr lang="en-US"/>
              <a:t>Fourth level</a:t>
            </a:r>
          </a:p>
          <a:p>
            <a:pPr marL="0" lvl="4" indent="0" algn="l" defTabSz="699699" rtl="0" eaLnBrk="1" latinLnBrk="0" hangingPunct="1">
              <a:lnSpc>
                <a:spcPct val="90000"/>
              </a:lnSpc>
              <a:spcBef>
                <a:spcPct val="20000"/>
              </a:spcBef>
              <a:buSzPct val="90000"/>
              <a:buFont typeface="Arial" pitchFamily="34" charset="0"/>
              <a:buNone/>
            </a:pPr>
            <a:r>
              <a:rPr lang="en-US"/>
              <a:t>Fifth level</a:t>
            </a:r>
            <a:endParaRPr lang="en-US" dirty="0"/>
          </a:p>
        </p:txBody>
      </p:sp>
      <p:sp>
        <p:nvSpPr>
          <p:cNvPr id="2" name="Title 1"/>
          <p:cNvSpPr>
            <a:spLocks noGrp="1"/>
          </p:cNvSpPr>
          <p:nvPr>
            <p:ph type="title"/>
          </p:nvPr>
        </p:nvSpPr>
        <p:spPr>
          <a:xfrm>
            <a:off x="4352283" y="233152"/>
            <a:ext cx="7552915" cy="621530"/>
          </a:xfrm>
          <a:prstGeom prst="rect">
            <a:avLst/>
          </a:prstGeom>
        </p:spPr>
        <p:txBody>
          <a:bodyPr/>
          <a:lstStyle>
            <a:lvl1pPr>
              <a:defRPr lang="en-US" sz="4488" b="0" kern="1200" cap="none" spc="-102"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182907269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Purple | SIDE TEXT">
    <p:bg>
      <p:bgPr>
        <a:solidFill>
          <a:schemeClr val="accent4"/>
        </a:solidFill>
        <a:effectLst/>
      </p:bgPr>
    </p:bg>
    <p:spTree>
      <p:nvGrpSpPr>
        <p:cNvPr id="1" name=""/>
        <p:cNvGrpSpPr/>
        <p:nvPr/>
      </p:nvGrpSpPr>
      <p:grpSpPr>
        <a:xfrm>
          <a:off x="0" y="0"/>
          <a:ext cx="0" cy="0"/>
          <a:chOff x="0" y="0"/>
          <a:chExt cx="0" cy="0"/>
        </a:xfrm>
      </p:grpSpPr>
      <p:sp>
        <p:nvSpPr>
          <p:cNvPr id="18" name="Text Placeholder 3"/>
          <p:cNvSpPr>
            <a:spLocks noGrp="1"/>
          </p:cNvSpPr>
          <p:nvPr>
            <p:ph type="body" sz="quarter" idx="13"/>
          </p:nvPr>
        </p:nvSpPr>
        <p:spPr>
          <a:xfrm>
            <a:off x="4352284" y="1398906"/>
            <a:ext cx="7619324" cy="1741642"/>
          </a:xfrm>
          <a:prstGeom prst="rect">
            <a:avLst/>
          </a:prstGeom>
        </p:spPr>
        <p:txBody>
          <a:bodyPr rIns="91440"/>
          <a:lstStyle>
            <a:lvl1pPr marL="0" indent="0">
              <a:spcBef>
                <a:spcPts val="1836"/>
              </a:spcBef>
              <a:buFont typeface="Arial" pitchFamily="34" charset="0"/>
              <a:buNone/>
              <a:defRPr lang="en-US" sz="3264" kern="4000" spc="-102" baseline="0" dirty="0" smtClean="0">
                <a:gradFill>
                  <a:gsLst>
                    <a:gs pos="0">
                      <a:schemeClr val="bg1">
                        <a:lumMod val="65000"/>
                        <a:lumOff val="35000"/>
                      </a:schemeClr>
                    </a:gs>
                    <a:gs pos="86000">
                      <a:schemeClr val="bg1">
                        <a:lumMod val="65000"/>
                        <a:lumOff val="35000"/>
                      </a:schemeClr>
                    </a:gs>
                  </a:gsLst>
                  <a:path path="circle">
                    <a:fillToRect r="100000" b="100000"/>
                  </a:path>
                </a:gradFill>
                <a:latin typeface="+mj-lt"/>
                <a:ea typeface="+mn-ea"/>
                <a:cs typeface="+mn-cs"/>
              </a:defRPr>
            </a:lvl1pPr>
            <a:lvl2pPr marL="1620" indent="0">
              <a:spcBef>
                <a:spcPts val="510"/>
              </a:spcBef>
              <a:buFont typeface="Arial" pitchFamily="34" charset="0"/>
              <a:buNone/>
              <a:tabLst/>
              <a:defRPr sz="1836">
                <a:gradFill>
                  <a:gsLst>
                    <a:gs pos="0">
                      <a:schemeClr val="bg1">
                        <a:lumMod val="65000"/>
                        <a:lumOff val="35000"/>
                      </a:schemeClr>
                    </a:gs>
                    <a:gs pos="86000">
                      <a:schemeClr val="bg1">
                        <a:lumMod val="65000"/>
                        <a:lumOff val="35000"/>
                      </a:schemeClr>
                    </a:gs>
                  </a:gsLst>
                  <a:path path="circle">
                    <a:fillToRect r="100000" b="100000"/>
                  </a:path>
                </a:gradFill>
              </a:defRPr>
            </a:lvl2pPr>
            <a:lvl3pPr marL="0" indent="0">
              <a:spcBef>
                <a:spcPts val="510"/>
              </a:spcBef>
              <a:buFont typeface="Arial" pitchFamily="34" charset="0"/>
              <a:buNone/>
              <a:defRPr sz="1428">
                <a:gradFill>
                  <a:gsLst>
                    <a:gs pos="0">
                      <a:schemeClr val="bg1">
                        <a:lumMod val="65000"/>
                        <a:lumOff val="35000"/>
                      </a:schemeClr>
                    </a:gs>
                    <a:gs pos="86000">
                      <a:schemeClr val="bg1">
                        <a:lumMod val="65000"/>
                        <a:lumOff val="35000"/>
                      </a:schemeClr>
                    </a:gs>
                  </a:gsLst>
                  <a:path path="circle">
                    <a:fillToRect r="100000" b="100000"/>
                  </a:path>
                </a:gradFill>
              </a:defRPr>
            </a:lvl3pPr>
            <a:lvl4pPr marL="0" indent="0">
              <a:spcBef>
                <a:spcPts val="510"/>
              </a:spcBef>
              <a:buFont typeface="Arial" pitchFamily="34" charset="0"/>
              <a:buNone/>
              <a:defRPr sz="1122">
                <a:gradFill>
                  <a:gsLst>
                    <a:gs pos="0">
                      <a:schemeClr val="bg1">
                        <a:lumMod val="65000"/>
                        <a:lumOff val="35000"/>
                      </a:schemeClr>
                    </a:gs>
                    <a:gs pos="86000">
                      <a:schemeClr val="bg1">
                        <a:lumMod val="65000"/>
                        <a:lumOff val="35000"/>
                      </a:schemeClr>
                    </a:gs>
                  </a:gsLst>
                  <a:path path="circle">
                    <a:fillToRect r="100000" b="100000"/>
                  </a:path>
                </a:gradFill>
              </a:defRPr>
            </a:lvl4pPr>
            <a:lvl5pPr marL="0" indent="0">
              <a:spcBef>
                <a:spcPts val="510"/>
              </a:spcBef>
              <a:buFont typeface="Arial" pitchFamily="34" charset="0"/>
              <a:buNone/>
              <a:defRPr sz="1122">
                <a:gradFill>
                  <a:gsLst>
                    <a:gs pos="0">
                      <a:schemeClr val="bg1">
                        <a:lumMod val="65000"/>
                        <a:lumOff val="35000"/>
                      </a:schemeClr>
                    </a:gs>
                    <a:gs pos="86000">
                      <a:schemeClr val="bg1">
                        <a:lumMod val="65000"/>
                        <a:lumOff val="35000"/>
                      </a:schemeClr>
                    </a:gs>
                  </a:gsLst>
                  <a:path path="circle">
                    <a:fillToRect r="100000" b="100000"/>
                  </a:path>
                </a:gradFill>
              </a:defRPr>
            </a:lvl5pPr>
          </a:lstStyle>
          <a:p>
            <a:pPr marL="0" lvl="0" indent="0" algn="l" defTabSz="699699" rtl="0" eaLnBrk="1" latinLnBrk="0" hangingPunct="1">
              <a:lnSpc>
                <a:spcPct val="90000"/>
              </a:lnSpc>
              <a:spcBef>
                <a:spcPct val="20000"/>
              </a:spcBef>
              <a:buSzPct val="90000"/>
              <a:buFont typeface="Arial" pitchFamily="34" charset="0"/>
              <a:buNone/>
            </a:pPr>
            <a:r>
              <a:rPr lang="en-US"/>
              <a:t>Click to edit Master text styles</a:t>
            </a:r>
          </a:p>
          <a:p>
            <a:pPr marL="0" lvl="1" indent="0" algn="l" defTabSz="699699" rtl="0" eaLnBrk="1" latinLnBrk="0" hangingPunct="1">
              <a:lnSpc>
                <a:spcPct val="90000"/>
              </a:lnSpc>
              <a:spcBef>
                <a:spcPct val="20000"/>
              </a:spcBef>
              <a:buSzPct val="90000"/>
              <a:buFont typeface="Arial" pitchFamily="34" charset="0"/>
              <a:buNone/>
            </a:pPr>
            <a:r>
              <a:rPr lang="en-US"/>
              <a:t>Second level</a:t>
            </a:r>
          </a:p>
          <a:p>
            <a:pPr marL="0" lvl="2" indent="0" algn="l" defTabSz="699699" rtl="0" eaLnBrk="1" latinLnBrk="0" hangingPunct="1">
              <a:lnSpc>
                <a:spcPct val="90000"/>
              </a:lnSpc>
              <a:spcBef>
                <a:spcPct val="20000"/>
              </a:spcBef>
              <a:buSzPct val="90000"/>
              <a:buFont typeface="Arial" pitchFamily="34" charset="0"/>
              <a:buNone/>
            </a:pPr>
            <a:r>
              <a:rPr lang="en-US"/>
              <a:t>Third level</a:t>
            </a:r>
          </a:p>
          <a:p>
            <a:pPr marL="0" lvl="3" indent="0" algn="l" defTabSz="699699" rtl="0" eaLnBrk="1" latinLnBrk="0" hangingPunct="1">
              <a:lnSpc>
                <a:spcPct val="90000"/>
              </a:lnSpc>
              <a:spcBef>
                <a:spcPct val="20000"/>
              </a:spcBef>
              <a:buSzPct val="90000"/>
              <a:buFont typeface="Arial" pitchFamily="34" charset="0"/>
              <a:buNone/>
            </a:pPr>
            <a:r>
              <a:rPr lang="en-US"/>
              <a:t>Fourth level</a:t>
            </a:r>
          </a:p>
          <a:p>
            <a:pPr marL="0" lvl="4" indent="0" algn="l" defTabSz="699699" rtl="0" eaLnBrk="1" latinLnBrk="0" hangingPunct="1">
              <a:lnSpc>
                <a:spcPct val="90000"/>
              </a:lnSpc>
              <a:spcBef>
                <a:spcPct val="20000"/>
              </a:spcBef>
              <a:buSzPct val="90000"/>
              <a:buFont typeface="Arial" pitchFamily="34" charset="0"/>
              <a:buNone/>
            </a:pPr>
            <a:r>
              <a:rPr lang="en-US"/>
              <a:t>Fifth level</a:t>
            </a:r>
            <a:endParaRPr lang="en-US" dirty="0"/>
          </a:p>
        </p:txBody>
      </p:sp>
      <p:sp>
        <p:nvSpPr>
          <p:cNvPr id="2" name="Title 1"/>
          <p:cNvSpPr>
            <a:spLocks noGrp="1"/>
          </p:cNvSpPr>
          <p:nvPr>
            <p:ph type="title"/>
          </p:nvPr>
        </p:nvSpPr>
        <p:spPr>
          <a:xfrm>
            <a:off x="4352283" y="233152"/>
            <a:ext cx="7552915" cy="621530"/>
          </a:xfrm>
          <a:prstGeom prst="rect">
            <a:avLst/>
          </a:prstGeom>
        </p:spPr>
        <p:txBody>
          <a:bodyPr/>
          <a:lstStyle>
            <a:lvl1pPr>
              <a:defRPr lang="en-US" sz="4488" b="0" kern="1200" cap="none" spc="-102" baseline="0" dirty="0">
                <a:ln w="3175">
                  <a:noFill/>
                </a:ln>
                <a:gradFill>
                  <a:gsLst>
                    <a:gs pos="0">
                      <a:schemeClr val="bg1">
                        <a:lumMod val="65000"/>
                        <a:lumOff val="35000"/>
                      </a:schemeClr>
                    </a:gs>
                    <a:gs pos="86000">
                      <a:schemeClr val="bg1">
                        <a:lumMod val="65000"/>
                        <a:lumOff val="35000"/>
                      </a:schemeClr>
                    </a:gs>
                  </a:gsLst>
                  <a:path path="circle">
                    <a:fillToRect r="100000" b="100000"/>
                  </a:path>
                </a:gradFill>
                <a:effectLst/>
                <a:latin typeface="Segoe UI Light" pitchFamily="34" charset="0"/>
                <a:ea typeface="+mn-ea"/>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371009307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403323" y="233152"/>
            <a:ext cx="11501873" cy="565027"/>
          </a:xfrm>
          <a:prstGeom prst="rect">
            <a:avLst/>
          </a:prstGeom>
        </p:spPr>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8641" y="1476624"/>
            <a:ext cx="11516560" cy="1720343"/>
          </a:xfrm>
          <a:prstGeom prst="rect">
            <a:avLst/>
          </a:prstGeom>
        </p:spPr>
        <p:txBody>
          <a:bodyPr/>
          <a:lstStyle>
            <a:lvl1pPr>
              <a:buClr>
                <a:srgbClr val="FFFFFF"/>
              </a:buClr>
              <a:buSzPct val="70000"/>
              <a:buFont typeface="Wingdings" pitchFamily="2" charset="2"/>
              <a:buNone/>
              <a:defRPr>
                <a:gradFill>
                  <a:gsLst>
                    <a:gs pos="0">
                      <a:srgbClr val="FFFFFF"/>
                    </a:gs>
                    <a:gs pos="86000">
                      <a:srgbClr val="FFFFFF"/>
                    </a:gs>
                  </a:gsLst>
                  <a:lin ang="5400000" scaled="0"/>
                </a:gradFill>
              </a:defRPr>
            </a:lvl1pPr>
            <a:lvl2pPr>
              <a:buClr>
                <a:srgbClr val="FFFFFF"/>
              </a:buClr>
              <a:buSzPct val="70000"/>
              <a:buFont typeface="Wingdings" pitchFamily="2" charset="2"/>
              <a:buNone/>
              <a:defRPr>
                <a:gradFill>
                  <a:gsLst>
                    <a:gs pos="0">
                      <a:srgbClr val="FFFFFF"/>
                    </a:gs>
                    <a:gs pos="86000">
                      <a:srgbClr val="FFFFFF"/>
                    </a:gs>
                  </a:gsLst>
                  <a:lin ang="5400000" scaled="0"/>
                </a:gradFill>
              </a:defRPr>
            </a:lvl2pPr>
            <a:lvl3pPr>
              <a:buClr>
                <a:srgbClr val="FFFFFF"/>
              </a:buClr>
              <a:buSzPct val="70000"/>
              <a:buFont typeface="Wingdings" pitchFamily="2" charset="2"/>
              <a:buNone/>
              <a:defRPr>
                <a:gradFill>
                  <a:gsLst>
                    <a:gs pos="0">
                      <a:srgbClr val="FFFFFF"/>
                    </a:gs>
                    <a:gs pos="86000">
                      <a:srgbClr val="FFFFFF"/>
                    </a:gs>
                  </a:gsLst>
                  <a:lin ang="5400000" scaled="0"/>
                </a:gradFill>
              </a:defRPr>
            </a:lvl3pPr>
            <a:lvl4pPr>
              <a:buClr>
                <a:srgbClr val="FFFFFF"/>
              </a:buClr>
              <a:buSzPct val="70000"/>
              <a:buFont typeface="Wingdings" pitchFamily="2" charset="2"/>
              <a:buNone/>
              <a:defRPr>
                <a:gradFill>
                  <a:gsLst>
                    <a:gs pos="0">
                      <a:srgbClr val="FFFFFF"/>
                    </a:gs>
                    <a:gs pos="86000">
                      <a:srgbClr val="FFFFFF"/>
                    </a:gs>
                  </a:gsLst>
                  <a:lin ang="5400000" scaled="0"/>
                </a:gradFill>
              </a:defRPr>
            </a:lvl4pPr>
            <a:lvl5pPr>
              <a:buClr>
                <a:srgbClr val="FFFFFF"/>
              </a:buClr>
              <a:buSzPct val="70000"/>
              <a:buFont typeface="Wingdings" pitchFamily="2" charset="2"/>
              <a:buNone/>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3" y="6363086"/>
            <a:ext cx="12436476" cy="631450"/>
          </a:xfrm>
          <a:prstGeom prst="rect">
            <a:avLst/>
          </a:prstGeom>
          <a:solidFill>
            <a:srgbClr val="FFFF99"/>
          </a:solidFill>
        </p:spPr>
        <p:txBody>
          <a:bodyPr wrap="square" lIns="114341" tIns="57171" rIns="114341" bIns="57171" anchor="b" anchorCtr="0">
            <a:noAutofit/>
          </a:bodyPr>
          <a:lstStyle>
            <a:lvl1pPr algn="r">
              <a:buFont typeface="Arial" pitchFamily="34" charset="0"/>
              <a:buNone/>
              <a:defRPr spc="-39"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401907274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95251010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6_Blank Color 1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8640" y="2144879"/>
            <a:ext cx="10683709" cy="2081181"/>
          </a:xfrm>
        </p:spPr>
        <p:txBody>
          <a:bodyPr/>
          <a:lstStyle>
            <a:lvl1pPr>
              <a:defRPr sz="7343">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23520842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5_Blank Color 1 Layou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8640" y="2144879"/>
            <a:ext cx="10683709" cy="2081181"/>
          </a:xfrm>
        </p:spPr>
        <p:txBody>
          <a:bodyPr/>
          <a:lstStyle>
            <a:lvl1pPr>
              <a:defRPr sz="7343">
                <a:solidFill>
                  <a:schemeClr val="bg1"/>
                </a:solidFill>
              </a:defRPr>
            </a:lvl1pPr>
          </a:lstStyle>
          <a:p>
            <a:r>
              <a:rPr lang="en-US"/>
              <a:t>Click to edit Master title style</a:t>
            </a:r>
          </a:p>
        </p:txBody>
      </p:sp>
    </p:spTree>
    <p:extLst>
      <p:ext uri="{BB962C8B-B14F-4D97-AF65-F5344CB8AC3E}">
        <p14:creationId xmlns:p14="http://schemas.microsoft.com/office/powerpoint/2010/main" val="372438944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7_Blank Color 1 Layout">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8640" y="2144879"/>
            <a:ext cx="10683709" cy="2081181"/>
          </a:xfrm>
        </p:spPr>
        <p:txBody>
          <a:bodyPr/>
          <a:lstStyle>
            <a:lvl1pPr>
              <a:defRPr sz="7343">
                <a:solidFill>
                  <a:schemeClr val="bg1"/>
                </a:solidFill>
              </a:defRPr>
            </a:lvl1pPr>
          </a:lstStyle>
          <a:p>
            <a:r>
              <a:rPr lang="en-US"/>
              <a:t>Click to edit Master title style</a:t>
            </a:r>
          </a:p>
        </p:txBody>
      </p:sp>
    </p:spTree>
    <p:extLst>
      <p:ext uri="{BB962C8B-B14F-4D97-AF65-F5344CB8AC3E}">
        <p14:creationId xmlns:p14="http://schemas.microsoft.com/office/powerpoint/2010/main" val="1743799050"/>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8_Blank Color 1 Layou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8640" y="2144879"/>
            <a:ext cx="10683709" cy="2081181"/>
          </a:xfrm>
        </p:spPr>
        <p:txBody>
          <a:bodyPr/>
          <a:lstStyle>
            <a:lvl1pPr>
              <a:defRPr sz="7343">
                <a:solidFill>
                  <a:schemeClr val="bg1"/>
                </a:solidFill>
              </a:defRPr>
            </a:lvl1pPr>
          </a:lstStyle>
          <a:p>
            <a:r>
              <a:rPr lang="en-US"/>
              <a:t>Click to edit Master title style</a:t>
            </a:r>
          </a:p>
        </p:txBody>
      </p:sp>
    </p:spTree>
    <p:extLst>
      <p:ext uri="{BB962C8B-B14F-4D97-AF65-F5344CB8AC3E}">
        <p14:creationId xmlns:p14="http://schemas.microsoft.com/office/powerpoint/2010/main" val="315667192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sp>
        <p:nvSpPr>
          <p:cNvPr id="3" name="Rectangle 2"/>
          <p:cNvSpPr/>
          <p:nvPr/>
        </p:nvSpPr>
        <p:spPr>
          <a:xfrm>
            <a:off x="438388" y="5985683"/>
            <a:ext cx="11589167" cy="606357"/>
          </a:xfrm>
          <a:prstGeom prst="rect">
            <a:avLst/>
          </a:prstGeom>
        </p:spPr>
        <p:txBody>
          <a:bodyPr wrap="square">
            <a:spAutoFit/>
          </a:bodyPr>
          <a:lstStyle/>
          <a:p>
            <a:pPr defTabSz="932290" eaLnBrk="0" hangingPunct="0"/>
            <a:r>
              <a:rPr lang="en-US" sz="816" dirty="0">
                <a:gradFill>
                  <a:gsLst>
                    <a:gs pos="0">
                      <a:srgbClr val="FFFFFF"/>
                    </a:gs>
                    <a:gs pos="100000">
                      <a:srgbClr val="FFFFFF"/>
                    </a:gs>
                  </a:gsLst>
                  <a:lin ang="5400000" scaled="0"/>
                </a:gradFill>
                <a:cs typeface="Arial" charset="0"/>
              </a:rPr>
              <a:t>© 2015 Microsoft Corporation. All rights reserved. Microsoft, Windows, Windows Vista and other product names are or may be registered trademarks and/or trademarks in the U.S. and/or other countries.</a:t>
            </a:r>
          </a:p>
          <a:p>
            <a:pPr defTabSz="932290" eaLnBrk="0" hangingPunct="0"/>
            <a:r>
              <a:rPr lang="en-US" sz="816"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41447" y="2708004"/>
            <a:ext cx="5106082" cy="1106597"/>
          </a:xfrm>
          <a:prstGeom prst="rect">
            <a:avLst/>
          </a:prstGeom>
        </p:spPr>
      </p:pic>
    </p:spTree>
    <p:extLst>
      <p:ext uri="{BB962C8B-B14F-4D97-AF65-F5344CB8AC3E}">
        <p14:creationId xmlns:p14="http://schemas.microsoft.com/office/powerpoint/2010/main" val="79132119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5_PresentationTitle_Manufacturing1">
    <p:bg>
      <p:bgPr>
        <a:solidFill>
          <a:schemeClr val="bg1"/>
        </a:solidFill>
        <a:effectLst/>
      </p:bgPr>
    </p:bg>
    <p:spTree>
      <p:nvGrpSpPr>
        <p:cNvPr id="1" name=""/>
        <p:cNvGrpSpPr/>
        <p:nvPr/>
      </p:nvGrpSpPr>
      <p:grpSpPr>
        <a:xfrm>
          <a:off x="0" y="0"/>
          <a:ext cx="0" cy="0"/>
          <a:chOff x="0" y="0"/>
          <a:chExt cx="0" cy="0"/>
        </a:xfrm>
      </p:grpSpPr>
      <p:pic>
        <p:nvPicPr>
          <p:cNvPr id="10" name="Picture 9" descr="STB13_SolarFarm_02.png"/>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2" y="-1"/>
            <a:ext cx="12434856" cy="6994526"/>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53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9" name="Rectangle 8"/>
          <p:cNvSpPr/>
          <p:nvPr/>
        </p:nvSpPr>
        <p:spPr bwMode="auto">
          <a:xfrm>
            <a:off x="0" y="559287"/>
            <a:ext cx="8115762" cy="3894027"/>
          </a:xfrm>
          <a:prstGeom prst="rect">
            <a:avLst/>
          </a:prstGeom>
          <a:solidFill>
            <a:schemeClr val="accent2">
              <a:alpha val="8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7" rIns="182796" bIns="146237"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a:spLocks noGrp="1"/>
          </p:cNvSpPr>
          <p:nvPr>
            <p:ph type="ctrTitle" hasCustomPrompt="1"/>
          </p:nvPr>
        </p:nvSpPr>
        <p:spPr>
          <a:xfrm>
            <a:off x="466369" y="1574006"/>
            <a:ext cx="7418143" cy="1864588"/>
          </a:xfrm>
          <a:prstGeom prst="rect">
            <a:avLst/>
          </a:prstGeom>
        </p:spPr>
        <p:txBody>
          <a:bodyPr wrap="square" lIns="146304" tIns="0" rIns="146304" bIns="0" anchor="ctr" anchorCtr="0">
            <a:spAutoFit/>
          </a:bodyPr>
          <a:lstStyle>
            <a:lvl1pPr>
              <a:lnSpc>
                <a:spcPct val="90000"/>
              </a:lnSpc>
              <a:spcBef>
                <a:spcPts val="0"/>
              </a:spcBef>
              <a:defRPr sz="6729" baseline="0">
                <a:solidFill>
                  <a:schemeClr val="bg1"/>
                </a:solidFill>
              </a:defRPr>
            </a:lvl1pPr>
          </a:lstStyle>
          <a:p>
            <a:r>
              <a:rPr lang="en-US" dirty="0"/>
              <a:t>Headline here, second line here</a:t>
            </a:r>
          </a:p>
        </p:txBody>
      </p:sp>
      <p:pic>
        <p:nvPicPr>
          <p:cNvPr id="20" name="Picture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780057" y="6530039"/>
            <a:ext cx="1304123" cy="285765"/>
          </a:xfrm>
          <a:prstGeom prst="rect">
            <a:avLst/>
          </a:prstGeom>
        </p:spPr>
      </p:pic>
    </p:spTree>
    <p:extLst>
      <p:ext uri="{BB962C8B-B14F-4D97-AF65-F5344CB8AC3E}">
        <p14:creationId xmlns:p14="http://schemas.microsoft.com/office/powerpoint/2010/main" val="11864672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pic>
        <p:nvPicPr>
          <p:cNvPr id="7" name="Picture 6" descr="WinAzure_rgb_Wht_S.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6104" y="6423318"/>
            <a:ext cx="1737341" cy="416792"/>
          </a:xfrm>
          <a:prstGeom prst="rect">
            <a:avLst/>
          </a:prstGeom>
        </p:spPr>
      </p:pic>
      <p:sp>
        <p:nvSpPr>
          <p:cNvPr id="11" name="Slide Number Placeholder 5"/>
          <p:cNvSpPr txBox="1">
            <a:spLocks/>
          </p:cNvSpPr>
          <p:nvPr/>
        </p:nvSpPr>
        <p:spPr>
          <a:xfrm>
            <a:off x="11762710" y="7368877"/>
            <a:ext cx="438755" cy="232711"/>
          </a:xfrm>
          <a:prstGeom prst="rect">
            <a:avLst/>
          </a:prstGeom>
        </p:spPr>
        <p:txBody>
          <a:bodyPr lIns="91419" tIns="45708" rIns="91419" bIns="45708"/>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800" dirty="0">
                <a:solidFill>
                  <a:srgbClr val="FFFFFF"/>
                </a:solidFill>
              </a:rPr>
              <a:t>3</a:t>
            </a:r>
          </a:p>
        </p:txBody>
      </p:sp>
      <p:sp>
        <p:nvSpPr>
          <p:cNvPr id="16" name="Title 1"/>
          <p:cNvSpPr>
            <a:spLocks noGrp="1"/>
          </p:cNvSpPr>
          <p:nvPr>
            <p:ph type="title" hasCustomPrompt="1"/>
          </p:nvPr>
        </p:nvSpPr>
        <p:spPr>
          <a:xfrm>
            <a:off x="272274" y="295274"/>
            <a:ext cx="11889564" cy="565027"/>
          </a:xfrm>
        </p:spPr>
        <p:txBody>
          <a:bodyPr/>
          <a:lstStyle>
            <a:lvl1pPr>
              <a:defRPr>
                <a:solidFill>
                  <a:schemeClr val="bg1">
                    <a:alpha val="99000"/>
                  </a:schemeClr>
                </a:solidFill>
              </a:defRPr>
            </a:lvl1pPr>
          </a:lstStyle>
          <a:p>
            <a:r>
              <a:rPr lang="en-US" dirty="0"/>
              <a:t>Slide title</a:t>
            </a:r>
          </a:p>
        </p:txBody>
      </p:sp>
      <p:sp>
        <p:nvSpPr>
          <p:cNvPr id="17" name="Text Placeholder 4"/>
          <p:cNvSpPr>
            <a:spLocks noGrp="1"/>
          </p:cNvSpPr>
          <p:nvPr>
            <p:ph type="body" sz="quarter" idx="15" hasCustomPrompt="1"/>
          </p:nvPr>
        </p:nvSpPr>
        <p:spPr>
          <a:xfrm>
            <a:off x="272279" y="1028702"/>
            <a:ext cx="11889559" cy="732769"/>
          </a:xfrm>
          <a:noFill/>
        </p:spPr>
        <p:txBody>
          <a:bodyPr lIns="146290" tIns="109717" rIns="146290" bIns="109717">
            <a:noAutofit/>
          </a:bodyPr>
          <a:lstStyle>
            <a:lvl1pPr marL="0" indent="0">
              <a:spcBef>
                <a:spcPts val="0"/>
              </a:spcBef>
              <a:buNone/>
              <a:defRPr sz="2800" spc="0" baseline="0">
                <a:solidFill>
                  <a:srgbClr val="0054A6">
                    <a:alpha val="99000"/>
                  </a:srgbClr>
                </a:solidFill>
                <a:latin typeface="+mj-lt"/>
              </a:defRPr>
            </a:lvl1pPr>
          </a:lstStyle>
          <a:p>
            <a:pPr lvl="0"/>
            <a:r>
              <a:rPr lang="en-US" dirty="0"/>
              <a:t>Secondary title</a:t>
            </a:r>
          </a:p>
        </p:txBody>
      </p:sp>
    </p:spTree>
    <p:extLst>
      <p:ext uri="{BB962C8B-B14F-4D97-AF65-F5344CB8AC3E}">
        <p14:creationId xmlns:p14="http://schemas.microsoft.com/office/powerpoint/2010/main" val="200594412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29109240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65129481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693302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118852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17427232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670527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268126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26782781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317534115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dirty="0"/>
              <a:t>Click to edit Master title style</a:t>
            </a:r>
          </a:p>
        </p:txBody>
      </p:sp>
    </p:spTree>
    <p:extLst>
      <p:ext uri="{BB962C8B-B14F-4D97-AF65-F5344CB8AC3E}">
        <p14:creationId xmlns:p14="http://schemas.microsoft.com/office/powerpoint/2010/main" val="348047542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a:defRPr kumimoji="0" lang="en-US" sz="2400"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buFont typeface="Arial" pitchFamily="34" charset="0"/>
              <a:buNone/>
              <a:tabLst/>
              <a:defRPr/>
            </a:pPr>
            <a:r>
              <a:rPr lang="en-US" dirty="0"/>
              <a:t>Click to edit Master text styles</a:t>
            </a:r>
          </a:p>
        </p:txBody>
      </p:sp>
    </p:spTree>
    <p:extLst>
      <p:ext uri="{BB962C8B-B14F-4D97-AF65-F5344CB8AC3E}">
        <p14:creationId xmlns:p14="http://schemas.microsoft.com/office/powerpoint/2010/main" val="303504254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6648442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82348856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dirty="0"/>
              <a:t>Click to edit Master title style</a:t>
            </a:r>
          </a:p>
        </p:txBody>
      </p:sp>
    </p:spTree>
    <p:extLst>
      <p:ext uri="{BB962C8B-B14F-4D97-AF65-F5344CB8AC3E}">
        <p14:creationId xmlns:p14="http://schemas.microsoft.com/office/powerpoint/2010/main" val="627070966"/>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84200" indent="-241300">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71441" indent="-342900">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dirty="0"/>
              <a:t>Click to edit Master text styles</a:t>
            </a:r>
          </a:p>
          <a:p>
            <a:pPr marL="0" marR="0" lvl="1" indent="0" algn="l" defTabSz="914166" rtl="0" eaLnBrk="1" fontAlgn="auto" latinLnBrk="0" hangingPunct="1">
              <a:lnSpc>
                <a:spcPct val="90000"/>
              </a:lnSpc>
              <a:spcBef>
                <a:spcPct val="20000"/>
              </a:spcBef>
              <a:spcAft>
                <a:spcPts val="816"/>
              </a:spcAft>
              <a:buClr>
                <a:schemeClr val="tx1"/>
              </a:buClr>
              <a:buSzPct val="90000"/>
              <a:buFont typeface="Arial" pitchFamily="34" charset="0"/>
              <a:buNone/>
              <a:tabLst/>
            </a:pPr>
            <a:r>
              <a:rPr lang="en-US" dirty="0"/>
              <a:t>Second level</a:t>
            </a:r>
          </a:p>
          <a:p>
            <a:pPr marL="457082" lvl="2" indent="-228541" algn="l" defTabSz="914166" rtl="0" eaLnBrk="1" latinLnBrk="0" hangingPunct="1">
              <a:spcBef>
                <a:spcPct val="20000"/>
              </a:spcBef>
              <a:spcAft>
                <a:spcPts val="816"/>
              </a:spcAft>
              <a:buFont typeface="Arial" pitchFamily="34" charset="0"/>
              <a:buChar char="•"/>
            </a:pPr>
            <a:r>
              <a:rPr lang="en-US" dirty="0"/>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436149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122634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767909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199144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170496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10213259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37756802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192922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marL="0" indent="0">
              <a:spcBef>
                <a:spcPts val="1800"/>
              </a:spcBef>
              <a:buNone/>
              <a:defRPr/>
            </a:lvl1pPr>
            <a:lvl2pPr marL="0" indent="0">
              <a:buNone/>
              <a:defRPr>
                <a:solidFill>
                  <a:schemeClr val="accent2">
                    <a:lumMod val="75000"/>
                  </a:schemeClr>
                </a:solidFill>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190459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96840012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589838" y="1668463"/>
            <a:ext cx="457200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7590514" y="295274"/>
            <a:ext cx="4573689" cy="917575"/>
          </a:xfrm>
        </p:spPr>
        <p:txBody>
          <a:bodyPr/>
          <a:lstStyle/>
          <a:p>
            <a:r>
              <a:rPr lang="en-US" dirty="0"/>
              <a:t>Click to edit Master title</a:t>
            </a:r>
          </a:p>
        </p:txBody>
      </p:sp>
    </p:spTree>
    <p:extLst>
      <p:ext uri="{BB962C8B-B14F-4D97-AF65-F5344CB8AC3E}">
        <p14:creationId xmlns:p14="http://schemas.microsoft.com/office/powerpoint/2010/main" val="101583300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5761038" y="295274"/>
            <a:ext cx="6403165" cy="917575"/>
          </a:xfrm>
        </p:spPr>
        <p:txBody>
          <a:bodyPr/>
          <a:lstStyle/>
          <a:p>
            <a:r>
              <a:rPr lang="en-US" dirty="0"/>
              <a:t>Click to edit Master title</a:t>
            </a:r>
          </a:p>
        </p:txBody>
      </p:sp>
    </p:spTree>
    <p:extLst>
      <p:ext uri="{BB962C8B-B14F-4D97-AF65-F5344CB8AC3E}">
        <p14:creationId xmlns:p14="http://schemas.microsoft.com/office/powerpoint/2010/main" val="237862917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761038" y="1668463"/>
            <a:ext cx="6400800" cy="5029200"/>
          </a:xfrm>
        </p:spPr>
        <p:txBody>
          <a:bodyPr wrap="square">
            <a:noAutofit/>
          </a:bodyPr>
          <a:lstStyle>
            <a:lvl1pPr marL="0" indent="0">
              <a:buNone/>
              <a:defRPr/>
            </a:lvl1pPr>
            <a:lvl2pPr marL="0" indent="0">
              <a:buNone/>
              <a:defRPr/>
            </a:lvl2pPr>
            <a:lvl3pPr marL="0" indent="0">
              <a:buNone/>
              <a:defRPr sz="2400"/>
            </a:lvl3pPr>
            <a:lvl4pPr marL="0" indent="0">
              <a:buNone/>
              <a:defRPr sz="2000"/>
            </a:lvl4pPr>
            <a:lvl5pPr marL="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378882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38926842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8302168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379248434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245436537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9"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a:solidFill>
            <a:schemeClr val="tx2"/>
          </a:solidFill>
        </p:spPr>
        <p:txBody>
          <a:bodyPr lIns="182880" tIns="146304" rIns="182880" bIns="146304" anchor="ctr" anchorCtr="1">
            <a:noAutofit/>
          </a:bodyPr>
          <a:lstStyle>
            <a:lvl1pPr marL="0" indent="0">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19902321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31115598"/>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329438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658263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28074284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66568462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8041888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052820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61044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261174825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429102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8" y="1058862"/>
            <a:ext cx="11887200" cy="572464"/>
          </a:xfrm>
        </p:spPr>
        <p:txBody>
          <a:bodyPr/>
          <a:lstStyle>
            <a:lvl1pPr marL="0" indent="0">
              <a:buNone/>
              <a:defRPr sz="28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412760669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684776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title</a:t>
            </a:r>
          </a:p>
        </p:txBody>
      </p:sp>
      <p:sp>
        <p:nvSpPr>
          <p:cNvPr id="8" name="Text Placeholder 2"/>
          <p:cNvSpPr>
            <a:spLocks noGrp="1"/>
          </p:cNvSpPr>
          <p:nvPr>
            <p:ph type="body" sz="quarter" idx="13" hasCustomPrompt="1"/>
          </p:nvPr>
        </p:nvSpPr>
        <p:spPr>
          <a:xfrm>
            <a:off x="274210" y="6398966"/>
            <a:ext cx="11888061" cy="297646"/>
          </a:xfrm>
        </p:spPr>
        <p:txBody>
          <a:bodyPr anchor="b" anchorCtr="0">
            <a:spAutoFit/>
          </a:bodyPr>
          <a:lstStyle>
            <a:lvl1pPr>
              <a:spcBef>
                <a:spcPts val="0"/>
              </a:spcBef>
              <a:defRPr sz="816" b="0">
                <a:solidFill>
                  <a:schemeClr val="tx1"/>
                </a:solidFill>
                <a:latin typeface="+mn-lt"/>
              </a:defRPr>
            </a:lvl1pPr>
            <a:lvl2pPr>
              <a:defRPr sz="816" b="0">
                <a:solidFill>
                  <a:schemeClr val="tx1"/>
                </a:solidFill>
              </a:defRPr>
            </a:lvl2pPr>
            <a:lvl3pPr>
              <a:defRPr sz="816" b="0">
                <a:solidFill>
                  <a:schemeClr val="tx1"/>
                </a:solidFill>
              </a:defRPr>
            </a:lvl3pPr>
            <a:lvl4pPr>
              <a:defRPr sz="816" b="0">
                <a:solidFill>
                  <a:schemeClr val="tx1"/>
                </a:solidFill>
              </a:defRPr>
            </a:lvl4pPr>
            <a:lvl5pPr>
              <a:defRPr sz="816" b="0">
                <a:solidFill>
                  <a:schemeClr val="tx1"/>
                </a:solidFill>
              </a:defRPr>
            </a:lvl5pPr>
          </a:lstStyle>
          <a:p>
            <a:pPr lvl="0"/>
            <a:r>
              <a:rPr lang="en-US" dirty="0"/>
              <a:t>Footnote</a:t>
            </a:r>
          </a:p>
        </p:txBody>
      </p:sp>
    </p:spTree>
    <p:extLst>
      <p:ext uri="{BB962C8B-B14F-4D97-AF65-F5344CB8AC3E}">
        <p14:creationId xmlns:p14="http://schemas.microsoft.com/office/powerpoint/2010/main" val="406600436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629391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8648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41306363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60577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118852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4"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16642641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2648431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128139037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367424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 Master text styles</a:t>
            </a:r>
          </a:p>
        </p:txBody>
      </p:sp>
    </p:spTree>
    <p:extLst>
      <p:ext uri="{BB962C8B-B14F-4D97-AF65-F5344CB8AC3E}">
        <p14:creationId xmlns:p14="http://schemas.microsoft.com/office/powerpoint/2010/main" val="35814503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dirty="0"/>
              <a:t>Click to edit Master title style</a:t>
            </a:r>
          </a:p>
        </p:txBody>
      </p:sp>
    </p:spTree>
    <p:extLst>
      <p:ext uri="{BB962C8B-B14F-4D97-AF65-F5344CB8AC3E}">
        <p14:creationId xmlns:p14="http://schemas.microsoft.com/office/powerpoint/2010/main" val="383875760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a:defRPr kumimoji="0" lang="en-US" sz="2400"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buFont typeface="Arial" pitchFamily="34" charset="0"/>
              <a:buNone/>
              <a:tabLst/>
              <a:defRPr/>
            </a:pPr>
            <a:r>
              <a:rPr lang="en-US" dirty="0"/>
              <a:t>Click to edit Master text styles</a:t>
            </a:r>
          </a:p>
        </p:txBody>
      </p:sp>
    </p:spTree>
    <p:extLst>
      <p:ext uri="{BB962C8B-B14F-4D97-AF65-F5344CB8AC3E}">
        <p14:creationId xmlns:p14="http://schemas.microsoft.com/office/powerpoint/2010/main" val="8044278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550149229"/>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089287777"/>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a:t>Click icon to add picture</a:t>
            </a:r>
          </a:p>
        </p:txBody>
      </p:sp>
      <p:sp>
        <p:nvSpPr>
          <p:cNvPr id="3" name="Title 2"/>
          <p:cNvSpPr>
            <a:spLocks noGrp="1"/>
          </p:cNvSpPr>
          <p:nvPr>
            <p:ph type="title"/>
          </p:nvPr>
        </p:nvSpPr>
        <p:spPr/>
        <p:txBody>
          <a:bodyPr wrap="none" lIns="182880" tIns="146304" rIns="182880" bIns="146304"/>
          <a:lstStyle/>
          <a:p>
            <a:r>
              <a:rPr lang="en-US" dirty="0"/>
              <a:t>Click to edit Master title style</a:t>
            </a:r>
          </a:p>
        </p:txBody>
      </p:sp>
    </p:spTree>
    <p:extLst>
      <p:ext uri="{BB962C8B-B14F-4D97-AF65-F5344CB8AC3E}">
        <p14:creationId xmlns:p14="http://schemas.microsoft.com/office/powerpoint/2010/main" val="1870031550"/>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84200" indent="-241300">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71441" indent="-342900">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dirty="0"/>
              <a:t>Click to edit Master text styles</a:t>
            </a:r>
          </a:p>
          <a:p>
            <a:pPr marL="0" marR="0" lvl="1" indent="0" algn="l" defTabSz="914166" rtl="0" eaLnBrk="1" fontAlgn="auto" latinLnBrk="0" hangingPunct="1">
              <a:lnSpc>
                <a:spcPct val="90000"/>
              </a:lnSpc>
              <a:spcBef>
                <a:spcPct val="20000"/>
              </a:spcBef>
              <a:spcAft>
                <a:spcPts val="816"/>
              </a:spcAft>
              <a:buClr>
                <a:schemeClr val="tx1"/>
              </a:buClr>
              <a:buSzPct val="90000"/>
              <a:buFont typeface="Arial" pitchFamily="34" charset="0"/>
              <a:buNone/>
              <a:tabLst/>
            </a:pPr>
            <a:r>
              <a:rPr lang="en-US" dirty="0"/>
              <a:t>Second level</a:t>
            </a:r>
          </a:p>
          <a:p>
            <a:pPr marL="457082" lvl="2" indent="-228541" algn="l" defTabSz="914166" rtl="0" eaLnBrk="1" latinLnBrk="0" hangingPunct="1">
              <a:spcBef>
                <a:spcPct val="20000"/>
              </a:spcBef>
              <a:spcAft>
                <a:spcPts val="816"/>
              </a:spcAft>
              <a:buFont typeface="Arial" pitchFamily="34" charset="0"/>
              <a:buChar char="•"/>
            </a:pPr>
            <a:r>
              <a:rPr lang="en-US" dirty="0"/>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701609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634622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7444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420628718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807726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12732185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a:t>Presentation title</a:t>
            </a: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 Here</a:t>
            </a:r>
          </a:p>
        </p:txBody>
      </p:sp>
    </p:spTree>
    <p:extLst>
      <p:ext uri="{BB962C8B-B14F-4D97-AF65-F5344CB8AC3E}">
        <p14:creationId xmlns:p14="http://schemas.microsoft.com/office/powerpoint/2010/main" val="173690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370713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a:t>Click to edit Master text styles</a:t>
            </a:r>
          </a:p>
        </p:txBody>
      </p:sp>
    </p:spTree>
    <p:extLst>
      <p:ext uri="{BB962C8B-B14F-4D97-AF65-F5344CB8AC3E}">
        <p14:creationId xmlns:p14="http://schemas.microsoft.com/office/powerpoint/2010/main" val="134502500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a:t>Click to edit Master title style</a:t>
            </a:r>
            <a:endParaRPr lang="en-US" dirty="0"/>
          </a:p>
        </p:txBody>
      </p:sp>
    </p:spTree>
    <p:extLst>
      <p:ext uri="{BB962C8B-B14F-4D97-AF65-F5344CB8AC3E}">
        <p14:creationId xmlns:p14="http://schemas.microsoft.com/office/powerpoint/2010/main" val="32383961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a:t>Click to edit</a:t>
            </a:r>
            <a:br>
              <a:rPr lang="en-US" dirty="0"/>
            </a:br>
            <a:r>
              <a:rPr lang="en-US" dirty="0"/>
              <a:t>Master text styles</a:t>
            </a:r>
          </a:p>
        </p:txBody>
      </p:sp>
    </p:spTree>
    <p:extLst>
      <p:ext uri="{BB962C8B-B14F-4D97-AF65-F5344CB8AC3E}">
        <p14:creationId xmlns:p14="http://schemas.microsoft.com/office/powerpoint/2010/main" val="239245387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591120783"/>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67259603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4245867702"/>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879280334"/>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a:t>Click to edit Master text styles</a:t>
            </a:r>
          </a:p>
          <a:p>
            <a:pPr marL="0" lvl="1" indent="0" algn="l" defTabSz="914166" rtl="0" eaLnBrk="1" latinLnBrk="0" hangingPunct="1">
              <a:spcBef>
                <a:spcPct val="20000"/>
              </a:spcBef>
              <a:spcAft>
                <a:spcPts val="816"/>
              </a:spcAft>
              <a:buFont typeface="Arial" pitchFamily="34" charset="0"/>
              <a:buNone/>
            </a:pPr>
            <a:r>
              <a:rPr lang="en-US"/>
              <a:t>Second level</a:t>
            </a:r>
          </a:p>
          <a:p>
            <a:pPr marL="0" lvl="2" indent="0" algn="l" defTabSz="914166" rtl="0" eaLnBrk="1" latinLnBrk="0" hangingPunct="1">
              <a:spcBef>
                <a:spcPct val="20000"/>
              </a:spcBef>
              <a:spcAft>
                <a:spcPts val="816"/>
              </a:spcAft>
              <a:buFont typeface="Arial" pitchFamily="34" charset="0"/>
              <a:buNone/>
            </a:pPr>
            <a:r>
              <a:rPr lang="en-US"/>
              <a:t>Third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100869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870538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76851682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321150637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a:t>Click icon to add picture</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1071642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51881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428414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Colored Non-Bulleted Content">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11739604" y="6673146"/>
            <a:ext cx="501211" cy="372394"/>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2"/>
          </p:nvPr>
        </p:nvSpPr>
        <p:spPr>
          <a:xfrm>
            <a:off x="391878" y="1204613"/>
            <a:ext cx="11460018" cy="17203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549276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4290584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1"/>
            <a:ext cx="11887202" cy="946413"/>
          </a:xfrm>
        </p:spPr>
        <p:txBody>
          <a:bodyPr/>
          <a:lstStyle>
            <a:lvl1pPr>
              <a:defRPr>
                <a:gradFill>
                  <a:gsLst>
                    <a:gs pos="1250">
                      <a:schemeClr val="tx1"/>
                    </a:gs>
                    <a:gs pos="100000">
                      <a:schemeClr val="tx1"/>
                    </a:gs>
                  </a:gsLst>
                  <a:lin ang="5400000" scaled="0"/>
                </a:gradFill>
              </a:defRPr>
            </a:lvl1pPr>
          </a:lstStyle>
          <a:p>
            <a:r>
              <a:rPr lang="en-US" dirty="0"/>
              <a:t>Click to edit master title style</a:t>
            </a:r>
          </a:p>
        </p:txBody>
      </p:sp>
      <p:sp>
        <p:nvSpPr>
          <p:cNvPr id="8" name="Slide Number Placeholder 7"/>
          <p:cNvSpPr>
            <a:spLocks noGrp="1"/>
          </p:cNvSpPr>
          <p:nvPr>
            <p:ph type="sldNum" sz="quarter" idx="11"/>
          </p:nvPr>
        </p:nvSpPr>
        <p:spPr>
          <a:xfrm>
            <a:off x="11595101" y="6565901"/>
            <a:ext cx="566738" cy="136525"/>
          </a:xfrm>
          <a:prstGeom prst="rect">
            <a:avLst/>
          </a:prstGeom>
        </p:spPr>
        <p:txBody>
          <a:bodyPr/>
          <a:lstStyle/>
          <a:p>
            <a:pPr defTabSz="932688">
              <a:lnSpc>
                <a:spcPct val="90000"/>
              </a:lnSpc>
            </a:pPr>
            <a:fld id="{1BC86A1F-E589-44B2-A543-2EC98F5547A7}" type="slidenum">
              <a:rPr sz="1836">
                <a:solidFill>
                  <a:srgbClr val="D2D2D2"/>
                </a:solidFill>
              </a:rPr>
              <a:pPr defTabSz="932688">
                <a:lnSpc>
                  <a:spcPct val="90000"/>
                </a:lnSpc>
              </a:pPr>
              <a:t>‹#›</a:t>
            </a:fld>
            <a:endParaRPr sz="1836" dirty="0">
              <a:solidFill>
                <a:srgbClr val="D2D2D2"/>
              </a:solidFill>
            </a:endParaRPr>
          </a:p>
        </p:txBody>
      </p:sp>
    </p:spTree>
    <p:extLst>
      <p:ext uri="{BB962C8B-B14F-4D97-AF65-F5344CB8AC3E}">
        <p14:creationId xmlns:p14="http://schemas.microsoft.com/office/powerpoint/2010/main" val="1586280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3652874421"/>
      </p:ext>
    </p:extLst>
  </p:cSld>
  <p:clrMapOvr>
    <a:masterClrMapping/>
  </p:clrMapOvr>
  <p:transition>
    <p:fade/>
  </p:transition>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79"/>
            <a:ext cx="12436475" cy="6989566"/>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0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9" name="Rectangle 8"/>
          <p:cNvSpPr/>
          <p:nvPr userDrawn="1"/>
        </p:nvSpPr>
        <p:spPr bwMode="auto">
          <a:xfrm>
            <a:off x="277814" y="296866"/>
            <a:ext cx="6397624" cy="6400799"/>
          </a:xfrm>
          <a:prstGeom prst="rect">
            <a:avLst/>
          </a:prstGeom>
          <a:solidFill>
            <a:srgbClr val="0078D7">
              <a:alpha val="9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ctrTitle" hasCustomPrompt="1"/>
          </p:nvPr>
        </p:nvSpPr>
        <p:spPr>
          <a:xfrm>
            <a:off x="326011" y="1456838"/>
            <a:ext cx="5486399" cy="897427"/>
          </a:xfrm>
          <a:prstGeom prst="rect">
            <a:avLst/>
          </a:prstGeom>
        </p:spPr>
        <p:txBody>
          <a:bodyPr/>
          <a:lstStyle>
            <a:lvl1pPr>
              <a:defRPr sz="5097" baseline="0">
                <a:solidFill>
                  <a:schemeClr val="bg1"/>
                </a:solidFill>
              </a:defRPr>
            </a:lvl1pPr>
          </a:lstStyle>
          <a:p>
            <a:r>
              <a:rPr lang="en-US" dirty="0"/>
              <a:t>Headline here, second line here</a:t>
            </a:r>
          </a:p>
        </p:txBody>
      </p:sp>
      <p:sp>
        <p:nvSpPr>
          <p:cNvPr id="11" name="Subtitle 2"/>
          <p:cNvSpPr>
            <a:spLocks noGrp="1"/>
          </p:cNvSpPr>
          <p:nvPr>
            <p:ph type="subTitle" idx="1" hasCustomPrompt="1"/>
          </p:nvPr>
        </p:nvSpPr>
        <p:spPr>
          <a:xfrm>
            <a:off x="326072" y="4440119"/>
            <a:ext cx="5486336" cy="1055382"/>
          </a:xfrm>
          <a:prstGeom prst="rect">
            <a:avLst/>
          </a:prstGeom>
        </p:spPr>
        <p:txBody>
          <a:bodyPr/>
          <a:lstStyle>
            <a:lvl1pPr marL="0" indent="0" algn="l">
              <a:lnSpc>
                <a:spcPts val="2647"/>
              </a:lnSpc>
              <a:buNone/>
              <a:defRPr sz="2157">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73326" y="479775"/>
            <a:ext cx="1304123" cy="285764"/>
          </a:xfrm>
          <a:prstGeom prst="rect">
            <a:avLst/>
          </a:prstGeom>
        </p:spPr>
      </p:pic>
      <p:sp>
        <p:nvSpPr>
          <p:cNvPr id="14" name="Text Placeholder 7"/>
          <p:cNvSpPr>
            <a:spLocks noGrp="1"/>
          </p:cNvSpPr>
          <p:nvPr>
            <p:ph type="body" sz="quarter" idx="10" hasCustomPrompt="1"/>
          </p:nvPr>
        </p:nvSpPr>
        <p:spPr>
          <a:xfrm>
            <a:off x="329185" y="3056731"/>
            <a:ext cx="5500687" cy="881063"/>
          </a:xfrm>
          <a:prstGeom prst="rect">
            <a:avLst/>
          </a:prstGeom>
        </p:spPr>
        <p:txBody>
          <a:bodyPr/>
          <a:lstStyle>
            <a:lvl1pPr marL="0" indent="0">
              <a:buNone/>
              <a:defRPr sz="2745" baseline="0">
                <a:solidFill>
                  <a:schemeClr val="bg1"/>
                </a:solidFill>
                <a:latin typeface="+mj-lt"/>
              </a:defRPr>
            </a:lvl1pPr>
            <a:lvl2pPr marL="336080" indent="0">
              <a:buNone/>
              <a:defRPr sz="1567">
                <a:solidFill>
                  <a:schemeClr val="bg1"/>
                </a:solidFill>
                <a:latin typeface="+mj-lt"/>
              </a:defRPr>
            </a:lvl2pPr>
            <a:lvl3pPr marL="560134" indent="0">
              <a:buNone/>
              <a:defRPr sz="1371">
                <a:solidFill>
                  <a:schemeClr val="bg1"/>
                </a:solidFill>
                <a:latin typeface="+mj-lt"/>
              </a:defRPr>
            </a:lvl3pPr>
            <a:lvl4pPr marL="784187" indent="0">
              <a:buNone/>
              <a:defRPr sz="1175">
                <a:solidFill>
                  <a:schemeClr val="bg1"/>
                </a:solidFill>
                <a:latin typeface="+mj-lt"/>
              </a:defRPr>
            </a:lvl4pPr>
            <a:lvl5pPr marL="1008241" indent="0">
              <a:buNone/>
              <a:defRPr sz="1175">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28238833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9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479"/>
            <a:ext cx="12436475" cy="6989566"/>
          </a:xfrm>
          <a:prstGeom prst="rect">
            <a:avLst/>
          </a:prstGeom>
        </p:spPr>
      </p:pic>
    </p:spTree>
    <p:extLst>
      <p:ext uri="{BB962C8B-B14F-4D97-AF65-F5344CB8AC3E}">
        <p14:creationId xmlns:p14="http://schemas.microsoft.com/office/powerpoint/2010/main" val="3967294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00765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349519879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200">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38268145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1" y="5104776"/>
            <a:ext cx="12436475" cy="188975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r" defTabSz="932290" fontAlgn="base">
              <a:spcBef>
                <a:spcPct val="0"/>
              </a:spcBef>
              <a:spcAft>
                <a:spcPct val="0"/>
              </a:spcAft>
            </a:pPr>
            <a:endParaRPr lang="en-US" sz="1836" dirty="0">
              <a:solidFill>
                <a:prstClr val="white"/>
              </a:solidFill>
            </a:endParaRPr>
          </a:p>
        </p:txBody>
      </p:sp>
      <p:sp>
        <p:nvSpPr>
          <p:cNvPr id="2" name="TextBox 1"/>
          <p:cNvSpPr txBox="1"/>
          <p:nvPr userDrawn="1"/>
        </p:nvSpPr>
        <p:spPr>
          <a:xfrm>
            <a:off x="237274" y="5892670"/>
            <a:ext cx="6887790" cy="574443"/>
          </a:xfrm>
          <a:prstGeom prst="rect">
            <a:avLst/>
          </a:prstGeom>
          <a:noFill/>
        </p:spPr>
        <p:txBody>
          <a:bodyPr wrap="square" rtlCol="0">
            <a:spAutoFit/>
          </a:bodyPr>
          <a:lstStyle/>
          <a:p>
            <a:pPr defTabSz="1109758"/>
            <a:r>
              <a:rPr lang="en-US" sz="3060" dirty="0">
                <a:solidFill>
                  <a:prstClr val="white"/>
                </a:solidFill>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73941" y="6397635"/>
            <a:ext cx="2718417" cy="247615"/>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020" dirty="0">
                <a:solidFill>
                  <a:prstClr val="white"/>
                </a:solidFill>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518" y="5230386"/>
            <a:ext cx="1842898" cy="677802"/>
          </a:xfrm>
          <a:prstGeom prst="rect">
            <a:avLst/>
          </a:prstGeom>
        </p:spPr>
      </p:pic>
    </p:spTree>
    <p:extLst>
      <p:ext uri="{BB962C8B-B14F-4D97-AF65-F5344CB8AC3E}">
        <p14:creationId xmlns:p14="http://schemas.microsoft.com/office/powerpoint/2010/main" val="4995942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1"/>
            <a:ext cx="11887202" cy="946413"/>
          </a:xfrm>
        </p:spPr>
        <p:txBody>
          <a:bodyPr/>
          <a:lstStyle>
            <a:lvl1pPr>
              <a:defRPr>
                <a:gradFill>
                  <a:gsLst>
                    <a:gs pos="1250">
                      <a:schemeClr val="tx1"/>
                    </a:gs>
                    <a:gs pos="100000">
                      <a:schemeClr val="tx1"/>
                    </a:gs>
                  </a:gsLst>
                  <a:lin ang="5400000" scaled="0"/>
                </a:gradFill>
              </a:defRPr>
            </a:lvl1pPr>
          </a:lstStyle>
          <a:p>
            <a:r>
              <a:rPr lang="en-US" dirty="0"/>
              <a:t>Click to edit master title style</a:t>
            </a:r>
          </a:p>
        </p:txBody>
      </p:sp>
      <p:sp>
        <p:nvSpPr>
          <p:cNvPr id="8" name="Slide Number Placeholder 7"/>
          <p:cNvSpPr>
            <a:spLocks noGrp="1"/>
          </p:cNvSpPr>
          <p:nvPr>
            <p:ph type="sldNum" sz="quarter" idx="11"/>
          </p:nvPr>
        </p:nvSpPr>
        <p:spPr>
          <a:xfrm>
            <a:off x="11595102" y="6565902"/>
            <a:ext cx="566738" cy="136525"/>
          </a:xfrm>
          <a:prstGeom prst="rect">
            <a:avLst/>
          </a:prstGeom>
        </p:spPr>
        <p:txBody>
          <a:bodyPr/>
          <a:lstStyle/>
          <a:p>
            <a:pPr defTabSz="932509">
              <a:lnSpc>
                <a:spcPct val="90000"/>
              </a:lnSpc>
            </a:pPr>
            <a:fld id="{1BC86A1F-E589-44B2-A543-2EC98F5547A7}" type="slidenum">
              <a:rPr lang="en-US" sz="1836" smtClean="0">
                <a:solidFill>
                  <a:srgbClr val="D2D2D2"/>
                </a:solidFill>
              </a:rPr>
              <a:pPr defTabSz="932509">
                <a:lnSpc>
                  <a:spcPct val="90000"/>
                </a:lnSpc>
              </a:pPr>
              <a:t>‹#›</a:t>
            </a:fld>
            <a:endParaRPr lang="en-US" sz="1836" dirty="0">
              <a:solidFill>
                <a:srgbClr val="D2D2D2"/>
              </a:solidFill>
            </a:endParaRPr>
          </a:p>
        </p:txBody>
      </p:sp>
    </p:spTree>
    <p:extLst>
      <p:ext uri="{BB962C8B-B14F-4D97-AF65-F5344CB8AC3E}">
        <p14:creationId xmlns:p14="http://schemas.microsoft.com/office/powerpoint/2010/main" val="1829448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80"/>
            <a:ext cx="12436475" cy="6989566"/>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9" name="Rectangle 8"/>
          <p:cNvSpPr/>
          <p:nvPr userDrawn="1"/>
        </p:nvSpPr>
        <p:spPr bwMode="auto">
          <a:xfrm>
            <a:off x="277814" y="296867"/>
            <a:ext cx="6397624" cy="6400799"/>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ctrTitle" hasCustomPrompt="1"/>
          </p:nvPr>
        </p:nvSpPr>
        <p:spPr>
          <a:xfrm>
            <a:off x="326012" y="1456839"/>
            <a:ext cx="5486399" cy="897427"/>
          </a:xfrm>
          <a:prstGeom prst="rect">
            <a:avLst/>
          </a:prstGeom>
        </p:spPr>
        <p:txBody>
          <a:bodyPr/>
          <a:lstStyle>
            <a:lvl1pPr>
              <a:defRPr sz="5096" baseline="0">
                <a:solidFill>
                  <a:schemeClr val="bg1"/>
                </a:solidFill>
              </a:defRPr>
            </a:lvl1pPr>
          </a:lstStyle>
          <a:p>
            <a:r>
              <a:rPr lang="en-US" dirty="0"/>
              <a:t>Headline here, second line here</a:t>
            </a:r>
          </a:p>
        </p:txBody>
      </p:sp>
      <p:sp>
        <p:nvSpPr>
          <p:cNvPr id="11" name="Subtitle 2"/>
          <p:cNvSpPr>
            <a:spLocks noGrp="1"/>
          </p:cNvSpPr>
          <p:nvPr>
            <p:ph type="subTitle" idx="1" hasCustomPrompt="1"/>
          </p:nvPr>
        </p:nvSpPr>
        <p:spPr>
          <a:xfrm>
            <a:off x="326072" y="4440119"/>
            <a:ext cx="5486336" cy="1055382"/>
          </a:xfrm>
          <a:prstGeom prst="rect">
            <a:avLst/>
          </a:prstGeom>
        </p:spPr>
        <p:txBody>
          <a:bodyPr/>
          <a:lstStyle>
            <a:lvl1pPr marL="0" indent="0" algn="l">
              <a:lnSpc>
                <a:spcPts val="2647"/>
              </a:lnSpc>
              <a:buNone/>
              <a:defRPr sz="2157">
                <a:solidFill>
                  <a:schemeClr val="bg1"/>
                </a:solidFill>
                <a:latin typeface="+mj-lt"/>
              </a:defRPr>
            </a:lvl1pPr>
            <a:lvl2pPr marL="448021" indent="0" algn="ctr">
              <a:buNone/>
              <a:defRPr>
                <a:solidFill>
                  <a:schemeClr val="tx1">
                    <a:tint val="75000"/>
                  </a:schemeClr>
                </a:solidFill>
              </a:defRPr>
            </a:lvl2pPr>
            <a:lvl3pPr marL="896042" indent="0" algn="ctr">
              <a:buNone/>
              <a:defRPr>
                <a:solidFill>
                  <a:schemeClr val="tx1">
                    <a:tint val="75000"/>
                  </a:schemeClr>
                </a:solidFill>
              </a:defRPr>
            </a:lvl3pPr>
            <a:lvl4pPr marL="1344063" indent="0" algn="ctr">
              <a:buNone/>
              <a:defRPr>
                <a:solidFill>
                  <a:schemeClr val="tx1">
                    <a:tint val="75000"/>
                  </a:schemeClr>
                </a:solidFill>
              </a:defRPr>
            </a:lvl4pPr>
            <a:lvl5pPr marL="1792085" indent="0" algn="ctr">
              <a:buNone/>
              <a:defRPr>
                <a:solidFill>
                  <a:schemeClr val="tx1">
                    <a:tint val="75000"/>
                  </a:schemeClr>
                </a:solidFill>
              </a:defRPr>
            </a:lvl5pPr>
            <a:lvl6pPr marL="2240104" indent="0" algn="ctr">
              <a:buNone/>
              <a:defRPr>
                <a:solidFill>
                  <a:schemeClr val="tx1">
                    <a:tint val="75000"/>
                  </a:schemeClr>
                </a:solidFill>
              </a:defRPr>
            </a:lvl6pPr>
            <a:lvl7pPr marL="2688126" indent="0" algn="ctr">
              <a:buNone/>
              <a:defRPr>
                <a:solidFill>
                  <a:schemeClr val="tx1">
                    <a:tint val="75000"/>
                  </a:schemeClr>
                </a:solidFill>
              </a:defRPr>
            </a:lvl7pPr>
            <a:lvl8pPr marL="3136147" indent="0" algn="ctr">
              <a:buNone/>
              <a:defRPr>
                <a:solidFill>
                  <a:schemeClr val="tx1">
                    <a:tint val="75000"/>
                  </a:schemeClr>
                </a:solidFill>
              </a:defRPr>
            </a:lvl8pPr>
            <a:lvl9pPr marL="3584167" indent="0" algn="ctr">
              <a:buNone/>
              <a:defRPr>
                <a:solidFill>
                  <a:schemeClr val="tx1">
                    <a:tint val="75000"/>
                  </a:schemeClr>
                </a:solidFill>
              </a:defRPr>
            </a:lvl9pPr>
          </a:lstStyle>
          <a:p>
            <a:r>
              <a:rPr lang="en-US" dirty="0"/>
              <a:t>Speaker Name</a:t>
            </a:r>
            <a:br>
              <a:rPr lang="en-US" dirty="0"/>
            </a:br>
            <a:r>
              <a:rPr lang="en-US" dirty="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73327" y="479775"/>
            <a:ext cx="1304123" cy="285764"/>
          </a:xfrm>
          <a:prstGeom prst="rect">
            <a:avLst/>
          </a:prstGeom>
        </p:spPr>
      </p:pic>
      <p:sp>
        <p:nvSpPr>
          <p:cNvPr id="14" name="Text Placeholder 7"/>
          <p:cNvSpPr>
            <a:spLocks noGrp="1"/>
          </p:cNvSpPr>
          <p:nvPr>
            <p:ph type="body" sz="quarter" idx="10" hasCustomPrompt="1"/>
          </p:nvPr>
        </p:nvSpPr>
        <p:spPr>
          <a:xfrm>
            <a:off x="329186" y="3056731"/>
            <a:ext cx="5500687" cy="881063"/>
          </a:xfrm>
          <a:prstGeom prst="rect">
            <a:avLst/>
          </a:prstGeom>
        </p:spPr>
        <p:txBody>
          <a:bodyPr/>
          <a:lstStyle>
            <a:lvl1pPr marL="0" indent="0">
              <a:buNone/>
              <a:defRPr sz="2745" baseline="0">
                <a:solidFill>
                  <a:schemeClr val="bg1"/>
                </a:solidFill>
                <a:latin typeface="+mj-lt"/>
              </a:defRPr>
            </a:lvl1pPr>
            <a:lvl2pPr marL="336015" indent="0">
              <a:buNone/>
              <a:defRPr sz="1567">
                <a:solidFill>
                  <a:schemeClr val="bg1"/>
                </a:solidFill>
                <a:latin typeface="+mj-lt"/>
              </a:defRPr>
            </a:lvl2pPr>
            <a:lvl3pPr marL="560026" indent="0">
              <a:buNone/>
              <a:defRPr sz="1371">
                <a:solidFill>
                  <a:schemeClr val="bg1"/>
                </a:solidFill>
                <a:latin typeface="+mj-lt"/>
              </a:defRPr>
            </a:lvl3pPr>
            <a:lvl4pPr marL="784037" indent="0">
              <a:buNone/>
              <a:defRPr sz="1175">
                <a:solidFill>
                  <a:schemeClr val="bg1"/>
                </a:solidFill>
                <a:latin typeface="+mj-lt"/>
              </a:defRPr>
            </a:lvl4pPr>
            <a:lvl5pPr marL="1008048" indent="0">
              <a:buNone/>
              <a:defRPr sz="1175">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10863493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9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480"/>
            <a:ext cx="12436475" cy="6989566"/>
          </a:xfrm>
          <a:prstGeom prst="rect">
            <a:avLst/>
          </a:prstGeom>
        </p:spPr>
      </p:pic>
    </p:spTree>
    <p:extLst>
      <p:ext uri="{BB962C8B-B14F-4D97-AF65-F5344CB8AC3E}">
        <p14:creationId xmlns:p14="http://schemas.microsoft.com/office/powerpoint/2010/main" val="3450552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3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4365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1.png"/><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image" Target="../media/image4.png"/><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image" Target="../media/image1.png"/><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theme" Target="../theme/theme5.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image" Target="../media/image6.emf"/><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oleObject" Target="../embeddings/oleObject2.bin"/><Relationship Id="rId5" Type="http://schemas.openxmlformats.org/officeDocument/2006/relationships/slideLayout" Target="../slideLayouts/slideLayout93.xml"/><Relationship Id="rId10" Type="http://schemas.openxmlformats.org/officeDocument/2006/relationships/tags" Target="../tags/tag2.xml"/><Relationship Id="rId4" Type="http://schemas.openxmlformats.org/officeDocument/2006/relationships/slideLayout" Target="../slideLayouts/slideLayout92.xml"/><Relationship Id="rId9" Type="http://schemas.openxmlformats.org/officeDocument/2006/relationships/vmlDrawing" Target="../drawings/vmlDrawing2.vml"/></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8.vml"/><Relationship Id="rId3" Type="http://schemas.openxmlformats.org/officeDocument/2006/relationships/slideLayout" Target="../slideLayouts/slideLayout98.xml"/><Relationship Id="rId7" Type="http://schemas.openxmlformats.org/officeDocument/2006/relationships/theme" Target="../theme/theme7.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image" Target="../media/image6.emf"/><Relationship Id="rId5" Type="http://schemas.openxmlformats.org/officeDocument/2006/relationships/slideLayout" Target="../slideLayouts/slideLayout100.xml"/><Relationship Id="rId10" Type="http://schemas.openxmlformats.org/officeDocument/2006/relationships/oleObject" Target="../embeddings/oleObject8.bin"/><Relationship Id="rId4" Type="http://schemas.openxmlformats.org/officeDocument/2006/relationships/slideLayout" Target="../slideLayouts/slideLayout99.xml"/><Relationship Id="rId9"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theme" Target="../theme/theme8.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64" r:id="rId1"/>
    <p:sldLayoutId id="2147484265" r:id="rId2"/>
    <p:sldLayoutId id="2147484266" r:id="rId3"/>
    <p:sldLayoutId id="2147484267" r:id="rId4"/>
    <p:sldLayoutId id="2147484268" r:id="rId5"/>
    <p:sldLayoutId id="2147484269" r:id="rId6"/>
    <p:sldLayoutId id="2147484270" r:id="rId7"/>
    <p:sldLayoutId id="2147484271" r:id="rId8"/>
    <p:sldLayoutId id="2147484272" r:id="rId9"/>
    <p:sldLayoutId id="2147484273" r:id="rId10"/>
    <p:sldLayoutId id="2147484274" r:id="rId11"/>
    <p:sldLayoutId id="2147484275" r:id="rId12"/>
    <p:sldLayoutId id="2147484276" r:id="rId13"/>
    <p:sldLayoutId id="2147484277" r:id="rId14"/>
    <p:sldLayoutId id="2147484263" r:id="rId15"/>
    <p:sldLayoutId id="2147484307" r:id="rId1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553714132"/>
      </p:ext>
    </p:extLst>
  </p:cSld>
  <p:clrMap bg1="dk1" tx1="lt1" bg2="dk2" tx2="lt2" accent1="accent1" accent2="accent2" accent3="accent3" accent4="accent4" accent5="accent5" accent6="accent6" hlink="hlink" folHlink="folHlink"/>
  <p:sldLayoutIdLst>
    <p:sldLayoutId id="2147484294" r:id="rId1"/>
    <p:sldLayoutId id="2147484295" r:id="rId2"/>
    <p:sldLayoutId id="2147484296" r:id="rId3"/>
    <p:sldLayoutId id="2147484297" r:id="rId4"/>
    <p:sldLayoutId id="2147484298" r:id="rId5"/>
    <p:sldLayoutId id="2147484299" r:id="rId6"/>
    <p:sldLayoutId id="2147484300" r:id="rId7"/>
    <p:sldLayoutId id="2147484301" r:id="rId8"/>
    <p:sldLayoutId id="2147484302" r:id="rId9"/>
    <p:sldLayoutId id="2147484303" r:id="rId10"/>
    <p:sldLayoutId id="2147484306" r:id="rId11"/>
    <p:sldLayoutId id="2147484304" r:id="rId12"/>
    <p:sldLayoutId id="2147484305" r:id="rId1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54192703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223639055"/>
      </p:ext>
    </p:extLst>
  </p:cSld>
  <p:clrMap bg1="dk1" tx1="lt1" bg2="dk2" tx2="lt2" accent1="accent1" accent2="accent2" accent3="accent3" accent4="accent4" accent5="accent5" accent6="accent6" hlink="hlink" folHlink="folHlink"/>
  <p:sldLayoutIdLst>
    <p:sldLayoutId id="2147484341" r:id="rId1"/>
    <p:sldLayoutId id="2147484342" r:id="rId2"/>
    <p:sldLayoutId id="2147484343" r:id="rId3"/>
    <p:sldLayoutId id="2147484344" r:id="rId4"/>
    <p:sldLayoutId id="2147484345" r:id="rId5"/>
    <p:sldLayoutId id="2147484346" r:id="rId6"/>
    <p:sldLayoutId id="2147484347" r:id="rId7"/>
    <p:sldLayoutId id="2147484348" r:id="rId8"/>
    <p:sldLayoutId id="2147484349" r:id="rId9"/>
    <p:sldLayoutId id="2147484350" r:id="rId10"/>
    <p:sldLayoutId id="2147484351" r:id="rId11"/>
    <p:sldLayoutId id="2147484352" r:id="rId12"/>
    <p:sldLayoutId id="2147484353" r:id="rId1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608620133"/>
      </p:ext>
    </p:extLst>
  </p:cSld>
  <p:clrMap bg1="lt1" tx1="dk1" bg2="lt2" tx2="dk2" accent1="accent1" accent2="accent2" accent3="accent3" accent4="accent4" accent5="accent5" accent6="accent6" hlink="hlink" folHlink="folHlink"/>
  <p:sldLayoutIdLst>
    <p:sldLayoutId id="2147484355" r:id="rId1"/>
    <p:sldLayoutId id="2147484356" r:id="rId2"/>
    <p:sldLayoutId id="2147484357" r:id="rId3"/>
    <p:sldLayoutId id="2147484358" r:id="rId4"/>
    <p:sldLayoutId id="2147484359" r:id="rId5"/>
    <p:sldLayoutId id="2147484360" r:id="rId6"/>
    <p:sldLayoutId id="2147484361" r:id="rId7"/>
    <p:sldLayoutId id="2147484362" r:id="rId8"/>
    <p:sldLayoutId id="2147484363" r:id="rId9"/>
    <p:sldLayoutId id="2147484364" r:id="rId10"/>
    <p:sldLayoutId id="2147484365" r:id="rId11"/>
    <p:sldLayoutId id="2147484366" r:id="rId12"/>
    <p:sldLayoutId id="2147484367" r:id="rId13"/>
    <p:sldLayoutId id="2147484368" r:id="rId14"/>
    <p:sldLayoutId id="2147484369" r:id="rId15"/>
    <p:sldLayoutId id="2147484370" r:id="rId16"/>
    <p:sldLayoutId id="2147484377" r:id="rId17"/>
    <p:sldLayoutId id="2147484420"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85"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9821" y="279400"/>
            <a:ext cx="11191875" cy="116681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279821" y="1631950"/>
            <a:ext cx="11191875" cy="46164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4385437"/>
      </p:ext>
    </p:extLst>
  </p:cSld>
  <p:clrMap bg1="lt1" tx1="dk1" bg2="lt2" tx2="dk2" accent1="accent1" accent2="accent2" accent3="accent3" accent4="accent4" accent5="accent5" accent6="accent6" hlink="hlink" folHlink="folHlink"/>
  <p:sldLayoutIdLst>
    <p:sldLayoutId id="2147484380" r:id="rId1"/>
    <p:sldLayoutId id="2147484381" r:id="rId2"/>
    <p:sldLayoutId id="2147484382" r:id="rId3"/>
    <p:sldLayoutId id="2147484383" r:id="rId4"/>
    <p:sldLayoutId id="2147484384" r:id="rId5"/>
    <p:sldLayoutId id="2147484385" r:id="rId6"/>
    <p:sldLayoutId id="2147484386" r:id="rId7"/>
  </p:sldLayoutIdLst>
  <p:hf hdr="0" ftr="0" dt="0"/>
  <p:txStyles>
    <p:titleStyle>
      <a:lvl1pPr algn="l" defTabSz="896214" rtl="0" eaLnBrk="1" latinLnBrk="0" hangingPunct="1">
        <a:spcBef>
          <a:spcPct val="0"/>
        </a:spcBef>
        <a:buNone/>
        <a:defRPr sz="4312" kern="1200">
          <a:solidFill>
            <a:schemeClr val="bg1"/>
          </a:solidFill>
          <a:latin typeface="Segoe UI Light" pitchFamily="34" charset="0"/>
          <a:ea typeface="+mj-ea"/>
          <a:cs typeface="+mj-cs"/>
        </a:defRPr>
      </a:lvl1pPr>
    </p:titleStyle>
    <p:bodyStyle>
      <a:lvl1pPr marL="336080" indent="-336080" algn="l" defTabSz="896214" rtl="0" eaLnBrk="1" latinLnBrk="0" hangingPunct="1">
        <a:spcBef>
          <a:spcPct val="20000"/>
        </a:spcBef>
        <a:buFont typeface="Arial" pitchFamily="34" charset="0"/>
        <a:buChar char="•"/>
        <a:defRPr sz="3136" kern="1200">
          <a:solidFill>
            <a:schemeClr val="bg1"/>
          </a:solidFill>
          <a:latin typeface="Segoe UI" pitchFamily="34" charset="0"/>
          <a:ea typeface="Segoe UI" pitchFamily="34" charset="0"/>
          <a:cs typeface="Segoe UI" pitchFamily="34" charset="0"/>
        </a:defRPr>
      </a:lvl1pPr>
      <a:lvl2pPr marL="728174" indent="-280067" algn="l" defTabSz="896214" rtl="0" eaLnBrk="1" latinLnBrk="0" hangingPunct="1">
        <a:spcBef>
          <a:spcPct val="20000"/>
        </a:spcBef>
        <a:buFont typeface="Arial" pitchFamily="34" charset="0"/>
        <a:buChar char="–"/>
        <a:defRPr sz="2745" kern="1200">
          <a:solidFill>
            <a:schemeClr val="bg1"/>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353" kern="1200">
          <a:solidFill>
            <a:schemeClr val="bg1"/>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961" kern="1200">
          <a:solidFill>
            <a:schemeClr val="bg1"/>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2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9822" y="279400"/>
            <a:ext cx="11191875" cy="116681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279822" y="1631950"/>
            <a:ext cx="11191875" cy="46164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5322406"/>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Lst>
  <p:hf hdr="0" ftr="0" dt="0"/>
  <p:txStyles>
    <p:titleStyle>
      <a:lvl1pPr algn="l" defTabSz="896042" rtl="0" eaLnBrk="1" latinLnBrk="0" hangingPunct="1">
        <a:spcBef>
          <a:spcPct val="0"/>
        </a:spcBef>
        <a:buNone/>
        <a:defRPr sz="4311" kern="1200">
          <a:solidFill>
            <a:schemeClr val="bg1"/>
          </a:solidFill>
          <a:latin typeface="Segoe UI Light" pitchFamily="34" charset="0"/>
          <a:ea typeface="+mj-ea"/>
          <a:cs typeface="+mj-cs"/>
        </a:defRPr>
      </a:lvl1pPr>
    </p:titleStyle>
    <p:bodyStyle>
      <a:lvl1pPr marL="336015" indent="-336015" algn="l" defTabSz="896042" rtl="0" eaLnBrk="1" latinLnBrk="0" hangingPunct="1">
        <a:spcBef>
          <a:spcPct val="20000"/>
        </a:spcBef>
        <a:buFont typeface="Arial" pitchFamily="34" charset="0"/>
        <a:buChar char="•"/>
        <a:defRPr sz="3135" kern="1200">
          <a:solidFill>
            <a:schemeClr val="bg1"/>
          </a:solidFill>
          <a:latin typeface="Segoe UI" pitchFamily="34" charset="0"/>
          <a:ea typeface="Segoe UI" pitchFamily="34" charset="0"/>
          <a:cs typeface="Segoe UI" pitchFamily="34" charset="0"/>
        </a:defRPr>
      </a:lvl1pPr>
      <a:lvl2pPr marL="728034" indent="-280014" algn="l" defTabSz="896042" rtl="0" eaLnBrk="1" latinLnBrk="0" hangingPunct="1">
        <a:spcBef>
          <a:spcPct val="20000"/>
        </a:spcBef>
        <a:buFont typeface="Arial" pitchFamily="34" charset="0"/>
        <a:buChar char="–"/>
        <a:defRPr sz="2745" kern="1200">
          <a:solidFill>
            <a:schemeClr val="bg1"/>
          </a:solidFill>
          <a:latin typeface="Segoe UI" pitchFamily="34" charset="0"/>
          <a:ea typeface="Segoe UI" pitchFamily="34" charset="0"/>
          <a:cs typeface="Segoe UI" pitchFamily="34" charset="0"/>
        </a:defRPr>
      </a:lvl2pPr>
      <a:lvl3pPr marL="1120053" indent="-224011" algn="l" defTabSz="896042" rtl="0" eaLnBrk="1" latinLnBrk="0" hangingPunct="1">
        <a:spcBef>
          <a:spcPct val="20000"/>
        </a:spcBef>
        <a:buFont typeface="Arial" pitchFamily="34" charset="0"/>
        <a:buChar char="•"/>
        <a:defRPr sz="2353" kern="1200">
          <a:solidFill>
            <a:schemeClr val="bg1"/>
          </a:solidFill>
          <a:latin typeface="Segoe UI" pitchFamily="34" charset="0"/>
          <a:ea typeface="Segoe UI" pitchFamily="34" charset="0"/>
          <a:cs typeface="Segoe UI" pitchFamily="34" charset="0"/>
        </a:defRPr>
      </a:lvl3pPr>
      <a:lvl4pPr marL="1568074" indent="-224011" algn="l" defTabSz="896042" rtl="0" eaLnBrk="1" latinLnBrk="0" hangingPunct="1">
        <a:spcBef>
          <a:spcPct val="20000"/>
        </a:spcBef>
        <a:buFont typeface="Arial" pitchFamily="34" charset="0"/>
        <a:buChar char="–"/>
        <a:defRPr sz="1960" kern="1200">
          <a:solidFill>
            <a:schemeClr val="bg1"/>
          </a:solidFill>
          <a:latin typeface="Segoe UI" pitchFamily="34" charset="0"/>
          <a:ea typeface="Segoe UI" pitchFamily="34" charset="0"/>
          <a:cs typeface="Segoe UI" pitchFamily="34" charset="0"/>
        </a:defRPr>
      </a:lvl4pPr>
      <a:lvl5pPr marL="2016094" indent="-224011" algn="l" defTabSz="896042" rtl="0" eaLnBrk="1" latinLnBrk="0" hangingPunct="1">
        <a:spcBef>
          <a:spcPct val="20000"/>
        </a:spcBef>
        <a:buFont typeface="Arial" pitchFamily="34" charset="0"/>
        <a:buChar char="»"/>
        <a:defRPr sz="1960" kern="1200">
          <a:solidFill>
            <a:schemeClr val="bg1"/>
          </a:solidFill>
          <a:latin typeface="Segoe UI" pitchFamily="34" charset="0"/>
          <a:ea typeface="Segoe UI" pitchFamily="34" charset="0"/>
          <a:cs typeface="Segoe UI" pitchFamily="34" charset="0"/>
        </a:defRPr>
      </a:lvl5pPr>
      <a:lvl6pPr marL="2464116" indent="-224011" algn="l" defTabSz="896042"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12138" indent="-224011" algn="l" defTabSz="896042"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360158" indent="-224011" algn="l" defTabSz="896042"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08179" indent="-224011" algn="l" defTabSz="896042"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896042" rtl="0" eaLnBrk="1" latinLnBrk="0" hangingPunct="1">
        <a:defRPr sz="1764" kern="1200">
          <a:solidFill>
            <a:schemeClr val="tx1"/>
          </a:solidFill>
          <a:latin typeface="+mn-lt"/>
          <a:ea typeface="+mn-ea"/>
          <a:cs typeface="+mn-cs"/>
        </a:defRPr>
      </a:lvl1pPr>
      <a:lvl2pPr marL="448021" algn="l" defTabSz="896042" rtl="0" eaLnBrk="1" latinLnBrk="0" hangingPunct="1">
        <a:defRPr sz="1764" kern="1200">
          <a:solidFill>
            <a:schemeClr val="tx1"/>
          </a:solidFill>
          <a:latin typeface="+mn-lt"/>
          <a:ea typeface="+mn-ea"/>
          <a:cs typeface="+mn-cs"/>
        </a:defRPr>
      </a:lvl2pPr>
      <a:lvl3pPr marL="896042" algn="l" defTabSz="896042" rtl="0" eaLnBrk="1" latinLnBrk="0" hangingPunct="1">
        <a:defRPr sz="1764" kern="1200">
          <a:solidFill>
            <a:schemeClr val="tx1"/>
          </a:solidFill>
          <a:latin typeface="+mn-lt"/>
          <a:ea typeface="+mn-ea"/>
          <a:cs typeface="+mn-cs"/>
        </a:defRPr>
      </a:lvl3pPr>
      <a:lvl4pPr marL="1344063" algn="l" defTabSz="896042" rtl="0" eaLnBrk="1" latinLnBrk="0" hangingPunct="1">
        <a:defRPr sz="1764" kern="1200">
          <a:solidFill>
            <a:schemeClr val="tx1"/>
          </a:solidFill>
          <a:latin typeface="+mn-lt"/>
          <a:ea typeface="+mn-ea"/>
          <a:cs typeface="+mn-cs"/>
        </a:defRPr>
      </a:lvl4pPr>
      <a:lvl5pPr marL="1792085" algn="l" defTabSz="896042" rtl="0" eaLnBrk="1" latinLnBrk="0" hangingPunct="1">
        <a:defRPr sz="1764" kern="1200">
          <a:solidFill>
            <a:schemeClr val="tx1"/>
          </a:solidFill>
          <a:latin typeface="+mn-lt"/>
          <a:ea typeface="+mn-ea"/>
          <a:cs typeface="+mn-cs"/>
        </a:defRPr>
      </a:lvl5pPr>
      <a:lvl6pPr marL="2240104" algn="l" defTabSz="896042" rtl="0" eaLnBrk="1" latinLnBrk="0" hangingPunct="1">
        <a:defRPr sz="1764" kern="1200">
          <a:solidFill>
            <a:schemeClr val="tx1"/>
          </a:solidFill>
          <a:latin typeface="+mn-lt"/>
          <a:ea typeface="+mn-ea"/>
          <a:cs typeface="+mn-cs"/>
        </a:defRPr>
      </a:lvl6pPr>
      <a:lvl7pPr marL="2688126" algn="l" defTabSz="896042" rtl="0" eaLnBrk="1" latinLnBrk="0" hangingPunct="1">
        <a:defRPr sz="1764" kern="1200">
          <a:solidFill>
            <a:schemeClr val="tx1"/>
          </a:solidFill>
          <a:latin typeface="+mn-lt"/>
          <a:ea typeface="+mn-ea"/>
          <a:cs typeface="+mn-cs"/>
        </a:defRPr>
      </a:lvl7pPr>
      <a:lvl8pPr marL="3136147" algn="l" defTabSz="896042" rtl="0" eaLnBrk="1" latinLnBrk="0" hangingPunct="1">
        <a:defRPr sz="1764" kern="1200">
          <a:solidFill>
            <a:schemeClr val="tx1"/>
          </a:solidFill>
          <a:latin typeface="+mn-lt"/>
          <a:ea typeface="+mn-ea"/>
          <a:cs typeface="+mn-cs"/>
        </a:defRPr>
      </a:lvl8pPr>
      <a:lvl9pPr marL="3584167" algn="l" defTabSz="896042" rtl="0" eaLnBrk="1" latinLnBrk="0" hangingPunct="1">
        <a:defRPr sz="1764"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5" name="TextBox 4"/>
          <p:cNvSpPr txBox="1"/>
          <p:nvPr/>
        </p:nvSpPr>
        <p:spPr>
          <a:xfrm>
            <a:off x="11681669" y="6819142"/>
            <a:ext cx="233245" cy="86454"/>
          </a:xfrm>
          <a:prstGeom prst="rect">
            <a:avLst/>
          </a:prstGeom>
          <a:noFill/>
        </p:spPr>
        <p:txBody>
          <a:bodyPr wrap="square" lIns="0" tIns="0" rIns="0" bIns="0" rtlCol="0">
            <a:spAutoFit/>
          </a:bodyPr>
          <a:lstStyle/>
          <a:p>
            <a:pPr algn="ctr" defTabSz="932559">
              <a:lnSpc>
                <a:spcPct val="90000"/>
              </a:lnSpc>
            </a:pPr>
            <a:r>
              <a:rPr lang="en-US" sz="918" spc="-20" baseline="10000" dirty="0">
                <a:gradFill>
                  <a:gsLst>
                    <a:gs pos="0">
                      <a:srgbClr val="00188F"/>
                    </a:gs>
                    <a:gs pos="100000">
                      <a:srgbClr val="00188F"/>
                    </a:gs>
                  </a:gsLst>
                  <a:lin ang="5400000" scaled="0"/>
                </a:gradFill>
                <a:latin typeface="Segoe UI Light"/>
              </a:rPr>
              <a:t>||</a:t>
            </a:r>
          </a:p>
        </p:txBody>
      </p:sp>
      <p:sp>
        <p:nvSpPr>
          <p:cNvPr id="7" name="TextBox 6"/>
          <p:cNvSpPr txBox="1"/>
          <p:nvPr/>
        </p:nvSpPr>
        <p:spPr>
          <a:xfrm>
            <a:off x="11681669" y="6819142"/>
            <a:ext cx="233245" cy="86454"/>
          </a:xfrm>
          <a:prstGeom prst="rect">
            <a:avLst/>
          </a:prstGeom>
          <a:noFill/>
        </p:spPr>
        <p:txBody>
          <a:bodyPr wrap="square" lIns="0" tIns="0" rIns="0" bIns="0" rtlCol="0">
            <a:spAutoFit/>
          </a:bodyPr>
          <a:lstStyle/>
          <a:p>
            <a:pPr algn="ctr" defTabSz="932559">
              <a:lnSpc>
                <a:spcPct val="90000"/>
              </a:lnSpc>
            </a:pPr>
            <a:r>
              <a:rPr lang="en-US" sz="918" spc="-20" baseline="10000" dirty="0">
                <a:gradFill>
                  <a:gsLst>
                    <a:gs pos="0">
                      <a:srgbClr val="00188F"/>
                    </a:gs>
                    <a:gs pos="100000">
                      <a:srgbClr val="00188F"/>
                    </a:gs>
                  </a:gsLst>
                  <a:lin ang="5400000" scaled="0"/>
                </a:gradFill>
                <a:latin typeface="Segoe UI Light"/>
              </a:rPr>
              <a:t>||</a:t>
            </a:r>
          </a:p>
        </p:txBody>
      </p:sp>
      <p:sp>
        <p:nvSpPr>
          <p:cNvPr id="4" name="Slide Number Placeholder 3"/>
          <p:cNvSpPr>
            <a:spLocks noGrp="1"/>
          </p:cNvSpPr>
          <p:nvPr>
            <p:ph type="sldNum" sz="quarter" idx="4"/>
          </p:nvPr>
        </p:nvSpPr>
        <p:spPr>
          <a:xfrm>
            <a:off x="11739604" y="6673146"/>
            <a:ext cx="501211" cy="372394"/>
          </a:xfrm>
          <a:prstGeom prst="rect">
            <a:avLst/>
          </a:prstGeom>
        </p:spPr>
        <p:txBody>
          <a:bodyPr vert="horz" lIns="91440" tIns="45720" rIns="91440" bIns="45720" rtlCol="0" anchor="ctr"/>
          <a:lstStyle>
            <a:lvl1pPr algn="r">
              <a:defRPr sz="1224">
                <a:solidFill>
                  <a:schemeClr val="accent2"/>
                </a:solidFill>
              </a:defRPr>
            </a:lvl1pPr>
          </a:lstStyle>
          <a:p>
            <a:pPr defTabSz="932597"/>
            <a:fld id="{4CED8391-71CF-4FD3-A093-40D26DE2D47C}" type="slidenum">
              <a:rPr lang="en-US" smtClean="0">
                <a:solidFill>
                  <a:srgbClr val="00188F"/>
                </a:solidFill>
              </a:rPr>
              <a:pPr defTabSz="932597"/>
              <a:t>‹#›</a:t>
            </a:fld>
            <a:endParaRPr lang="en-US">
              <a:solidFill>
                <a:srgbClr val="00188F"/>
              </a:solidFill>
            </a:endParaRPr>
          </a:p>
        </p:txBody>
      </p:sp>
      <p:sp>
        <p:nvSpPr>
          <p:cNvPr id="6" name="Title Placeholder 5"/>
          <p:cNvSpPr>
            <a:spLocks noGrp="1"/>
          </p:cNvSpPr>
          <p:nvPr>
            <p:ph type="title"/>
          </p:nvPr>
        </p:nvSpPr>
        <p:spPr>
          <a:xfrm>
            <a:off x="392526" y="233151"/>
            <a:ext cx="11436757" cy="565027"/>
          </a:xfrm>
          <a:prstGeom prst="rect">
            <a:avLst/>
          </a:prstGeom>
        </p:spPr>
        <p:txBody>
          <a:bodyPr vert="horz" wrap="square" lIns="146304" tIns="0" rIns="146304" bIns="0" rtlCol="0" anchor="t">
            <a:spAutoFit/>
          </a:bodyPr>
          <a:lstStyle/>
          <a:p>
            <a:r>
              <a:rPr lang="en-US"/>
              <a:t>Click to edit Master title style</a:t>
            </a:r>
            <a:endParaRPr lang="en-US" dirty="0"/>
          </a:p>
        </p:txBody>
      </p:sp>
      <p:sp>
        <p:nvSpPr>
          <p:cNvPr id="8" name="Text Placeholder 7"/>
          <p:cNvSpPr>
            <a:spLocks noGrp="1"/>
          </p:cNvSpPr>
          <p:nvPr>
            <p:ph type="body" idx="1"/>
          </p:nvPr>
        </p:nvSpPr>
        <p:spPr>
          <a:xfrm>
            <a:off x="392526" y="1204613"/>
            <a:ext cx="11436757" cy="1726993"/>
          </a:xfrm>
          <a:prstGeom prst="rect">
            <a:avLst/>
          </a:prstGeom>
        </p:spPr>
        <p:txBody>
          <a:bodyPr vert="horz" wrap="square" lIns="146304" tIns="45720" rIns="146304"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9109983"/>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 id="2147484398" r:id="rId4"/>
    <p:sldLayoutId id="2147484399" r:id="rId5"/>
    <p:sldLayoutId id="2147484400" r:id="rId6"/>
    <p:sldLayoutId id="2147484401" r:id="rId7"/>
    <p:sldLayoutId id="2147484402" r:id="rId8"/>
    <p:sldLayoutId id="2147484403" r:id="rId9"/>
    <p:sldLayoutId id="2147484404" r:id="rId10"/>
    <p:sldLayoutId id="2147484405" r:id="rId11"/>
    <p:sldLayoutId id="2147484406" r:id="rId12"/>
    <p:sldLayoutId id="2147484407" r:id="rId13"/>
    <p:sldLayoutId id="2147484408" r:id="rId14"/>
    <p:sldLayoutId id="2147484409" r:id="rId15"/>
    <p:sldLayoutId id="2147484410" r:id="rId16"/>
    <p:sldLayoutId id="2147484411" r:id="rId17"/>
    <p:sldLayoutId id="2147484412" r:id="rId18"/>
    <p:sldLayoutId id="2147484413" r:id="rId19"/>
    <p:sldLayoutId id="2147484414" r:id="rId20"/>
    <p:sldLayoutId id="2147484415" r:id="rId21"/>
    <p:sldLayoutId id="2147484416" r:id="rId22"/>
    <p:sldLayoutId id="2147484417" r:id="rId23"/>
    <p:sldLayoutId id="2147484418" r:id="rId24"/>
    <p:sldLayoutId id="2147484419" r:id="rId25"/>
  </p:sldLayoutIdLst>
  <p:transition>
    <p:fade/>
  </p:transition>
  <p:txStyles>
    <p:titleStyle>
      <a:lvl1pPr algn="l" defTabSz="699699" rtl="0" eaLnBrk="1" latinLnBrk="0" hangingPunct="1">
        <a:lnSpc>
          <a:spcPct val="90000"/>
        </a:lnSpc>
        <a:spcBef>
          <a:spcPct val="0"/>
        </a:spcBef>
        <a:buNone/>
        <a:defRPr lang="en-US" sz="4080" b="0" kern="1200" cap="none" spc="-102"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0" indent="0" algn="l" defTabSz="699699" rtl="0" eaLnBrk="1" latinLnBrk="0" hangingPunct="1">
        <a:lnSpc>
          <a:spcPct val="90000"/>
        </a:lnSpc>
        <a:spcBef>
          <a:spcPts val="1836"/>
        </a:spcBef>
        <a:buSzPct val="90000"/>
        <a:buFont typeface="Wingdings" pitchFamily="2" charset="2"/>
        <a:buNone/>
        <a:defRPr sz="3264" kern="4000" spc="-102" baseline="0">
          <a:solidFill>
            <a:schemeClr val="accent1"/>
          </a:solidFill>
          <a:latin typeface="+mj-lt"/>
          <a:ea typeface="+mn-ea"/>
          <a:cs typeface="+mn-cs"/>
        </a:defRPr>
      </a:lvl1pPr>
      <a:lvl2pPr marL="0" indent="0" algn="l" defTabSz="699699" rtl="0" eaLnBrk="1" latinLnBrk="0" hangingPunct="1">
        <a:lnSpc>
          <a:spcPct val="90000"/>
        </a:lnSpc>
        <a:spcBef>
          <a:spcPts val="102"/>
        </a:spcBef>
        <a:spcAft>
          <a:spcPts val="612"/>
        </a:spcAft>
        <a:buSzPct val="90000"/>
        <a:buFont typeface="Arial" pitchFamily="34" charset="0"/>
        <a:buNone/>
        <a:tabLst>
          <a:tab pos="482278" algn="l"/>
        </a:tabLst>
        <a:defRPr sz="204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99699" rtl="0" eaLnBrk="1" latinLnBrk="0" hangingPunct="1">
        <a:lnSpc>
          <a:spcPct val="90000"/>
        </a:lnSpc>
        <a:spcBef>
          <a:spcPts val="0"/>
        </a:spcBef>
        <a:spcAft>
          <a:spcPts val="612"/>
        </a:spcAft>
        <a:buSzPct val="90000"/>
        <a:buFont typeface="Arial" pitchFamily="34" charset="0"/>
        <a:buNone/>
        <a:defRPr sz="1836"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99699" rtl="0" eaLnBrk="1" latinLnBrk="0" hangingPunct="1">
        <a:lnSpc>
          <a:spcPct val="90000"/>
        </a:lnSpc>
        <a:spcBef>
          <a:spcPts val="0"/>
        </a:spcBef>
        <a:spcAft>
          <a:spcPts val="612"/>
        </a:spcAft>
        <a:buSzPct val="90000"/>
        <a:buFont typeface="Arial" pitchFamily="34" charset="0"/>
        <a:buNone/>
        <a:tabLst>
          <a:tab pos="699727" algn="l"/>
        </a:tabLst>
        <a:defRPr sz="1428"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99699" rtl="0" eaLnBrk="1" latinLnBrk="0" hangingPunct="1">
        <a:lnSpc>
          <a:spcPct val="90000"/>
        </a:lnSpc>
        <a:spcBef>
          <a:spcPts val="0"/>
        </a:spcBef>
        <a:spcAft>
          <a:spcPts val="612"/>
        </a:spcAft>
        <a:buSzPct val="90000"/>
        <a:buFont typeface="Arial" pitchFamily="34" charset="0"/>
        <a:buNone/>
        <a:defRPr sz="1428"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924173" indent="-174925" algn="l" defTabSz="699699" rtl="0" eaLnBrk="1" latinLnBrk="0" hangingPunct="1">
        <a:spcBef>
          <a:spcPct val="20000"/>
        </a:spcBef>
        <a:buFont typeface="Arial" pitchFamily="34" charset="0"/>
        <a:buChar char="•"/>
        <a:defRPr sz="1530" kern="1200">
          <a:solidFill>
            <a:schemeClr val="tx1"/>
          </a:solidFill>
          <a:latin typeface="+mn-lt"/>
          <a:ea typeface="+mn-ea"/>
          <a:cs typeface="+mn-cs"/>
        </a:defRPr>
      </a:lvl6pPr>
      <a:lvl7pPr marL="2274022" indent="-174925" algn="l" defTabSz="699699" rtl="0" eaLnBrk="1" latinLnBrk="0" hangingPunct="1">
        <a:spcBef>
          <a:spcPct val="20000"/>
        </a:spcBef>
        <a:buFont typeface="Arial" pitchFamily="34" charset="0"/>
        <a:buChar char="•"/>
        <a:defRPr sz="1530" kern="1200">
          <a:solidFill>
            <a:schemeClr val="tx1"/>
          </a:solidFill>
          <a:latin typeface="+mn-lt"/>
          <a:ea typeface="+mn-ea"/>
          <a:cs typeface="+mn-cs"/>
        </a:defRPr>
      </a:lvl7pPr>
      <a:lvl8pPr marL="2623872" indent="-174925" algn="l" defTabSz="699699" rtl="0" eaLnBrk="1" latinLnBrk="0" hangingPunct="1">
        <a:spcBef>
          <a:spcPct val="20000"/>
        </a:spcBef>
        <a:buFont typeface="Arial" pitchFamily="34" charset="0"/>
        <a:buChar char="•"/>
        <a:defRPr sz="1530" kern="1200">
          <a:solidFill>
            <a:schemeClr val="tx1"/>
          </a:solidFill>
          <a:latin typeface="+mn-lt"/>
          <a:ea typeface="+mn-ea"/>
          <a:cs typeface="+mn-cs"/>
        </a:defRPr>
      </a:lvl8pPr>
      <a:lvl9pPr marL="2973722" indent="-174925" algn="l" defTabSz="699699" rtl="0" eaLnBrk="1" latinLnBrk="0" hangingPunct="1">
        <a:spcBef>
          <a:spcPct val="20000"/>
        </a:spcBef>
        <a:buFont typeface="Arial" pitchFamily="34" charset="0"/>
        <a:buChar char="•"/>
        <a:defRPr sz="1530" kern="1200">
          <a:solidFill>
            <a:schemeClr val="tx1"/>
          </a:solidFill>
          <a:latin typeface="+mn-lt"/>
          <a:ea typeface="+mn-ea"/>
          <a:cs typeface="+mn-cs"/>
        </a:defRPr>
      </a:lvl9pPr>
    </p:bodyStyle>
    <p:otherStyle>
      <a:defPPr>
        <a:defRPr lang="en-US"/>
      </a:defPPr>
      <a:lvl1pPr marL="0" algn="l" defTabSz="699699" rtl="0" eaLnBrk="1" latinLnBrk="0" hangingPunct="1">
        <a:defRPr sz="1428" kern="1200">
          <a:solidFill>
            <a:schemeClr val="tx1"/>
          </a:solidFill>
          <a:latin typeface="+mn-lt"/>
          <a:ea typeface="+mn-ea"/>
          <a:cs typeface="+mn-cs"/>
        </a:defRPr>
      </a:lvl1pPr>
      <a:lvl2pPr marL="349850" algn="l" defTabSz="699699" rtl="0" eaLnBrk="1" latinLnBrk="0" hangingPunct="1">
        <a:defRPr sz="1428" kern="1200">
          <a:solidFill>
            <a:schemeClr val="tx1"/>
          </a:solidFill>
          <a:latin typeface="+mn-lt"/>
          <a:ea typeface="+mn-ea"/>
          <a:cs typeface="+mn-cs"/>
        </a:defRPr>
      </a:lvl2pPr>
      <a:lvl3pPr marL="699699" algn="l" defTabSz="699699" rtl="0" eaLnBrk="1" latinLnBrk="0" hangingPunct="1">
        <a:defRPr sz="1428" kern="1200">
          <a:solidFill>
            <a:schemeClr val="tx1"/>
          </a:solidFill>
          <a:latin typeface="+mn-lt"/>
          <a:ea typeface="+mn-ea"/>
          <a:cs typeface="+mn-cs"/>
        </a:defRPr>
      </a:lvl3pPr>
      <a:lvl4pPr marL="1049548" algn="l" defTabSz="699699" rtl="0" eaLnBrk="1" latinLnBrk="0" hangingPunct="1">
        <a:defRPr sz="1428" kern="1200">
          <a:solidFill>
            <a:schemeClr val="tx1"/>
          </a:solidFill>
          <a:latin typeface="+mn-lt"/>
          <a:ea typeface="+mn-ea"/>
          <a:cs typeface="+mn-cs"/>
        </a:defRPr>
      </a:lvl4pPr>
      <a:lvl5pPr marL="1399399" algn="l" defTabSz="699699" rtl="0" eaLnBrk="1" latinLnBrk="0" hangingPunct="1">
        <a:defRPr sz="1428" kern="1200">
          <a:solidFill>
            <a:schemeClr val="tx1"/>
          </a:solidFill>
          <a:latin typeface="+mn-lt"/>
          <a:ea typeface="+mn-ea"/>
          <a:cs typeface="+mn-cs"/>
        </a:defRPr>
      </a:lvl5pPr>
      <a:lvl6pPr marL="1749249" algn="l" defTabSz="699699" rtl="0" eaLnBrk="1" latinLnBrk="0" hangingPunct="1">
        <a:defRPr sz="1428" kern="1200">
          <a:solidFill>
            <a:schemeClr val="tx1"/>
          </a:solidFill>
          <a:latin typeface="+mn-lt"/>
          <a:ea typeface="+mn-ea"/>
          <a:cs typeface="+mn-cs"/>
        </a:defRPr>
      </a:lvl6pPr>
      <a:lvl7pPr marL="2099097" algn="l" defTabSz="699699" rtl="0" eaLnBrk="1" latinLnBrk="0" hangingPunct="1">
        <a:defRPr sz="1428" kern="1200">
          <a:solidFill>
            <a:schemeClr val="tx1"/>
          </a:solidFill>
          <a:latin typeface="+mn-lt"/>
          <a:ea typeface="+mn-ea"/>
          <a:cs typeface="+mn-cs"/>
        </a:defRPr>
      </a:lvl7pPr>
      <a:lvl8pPr marL="2448947" algn="l" defTabSz="699699" rtl="0" eaLnBrk="1" latinLnBrk="0" hangingPunct="1">
        <a:defRPr sz="1428" kern="1200">
          <a:solidFill>
            <a:schemeClr val="tx1"/>
          </a:solidFill>
          <a:latin typeface="+mn-lt"/>
          <a:ea typeface="+mn-ea"/>
          <a:cs typeface="+mn-cs"/>
        </a:defRPr>
      </a:lvl8pPr>
      <a:lvl9pPr marL="2798797" algn="l" defTabSz="69969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336">
          <p15:clr>
            <a:srgbClr val="F26B43"/>
          </p15:clr>
        </p15:guide>
        <p15:guide id="3" orient="horz" pos="744">
          <p15:clr>
            <a:srgbClr val="F26B43"/>
          </p15:clr>
        </p15:guide>
        <p15:guide id="4" pos="240">
          <p15:clr>
            <a:srgbClr val="F26B43"/>
          </p15:clr>
        </p15:guide>
        <p15:guide id="5" orient="horz" pos="742">
          <p15:clr>
            <a:srgbClr val="F26B43"/>
          </p15:clr>
        </p15:guide>
        <p15:guide id="6" orient="horz" pos="1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30.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2.xml"/><Relationship Id="rId13" Type="http://schemas.openxmlformats.org/officeDocument/2006/relationships/image" Target="../media/image18.png"/><Relationship Id="rId3" Type="http://schemas.openxmlformats.org/officeDocument/2006/relationships/tags" Target="../tags/tag17.xml"/><Relationship Id="rId7" Type="http://schemas.openxmlformats.org/officeDocument/2006/relationships/slideLayout" Target="../slideLayouts/slideLayout50.xml"/><Relationship Id="rId12" Type="http://schemas.openxmlformats.org/officeDocument/2006/relationships/image" Target="../media/image17.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image" Target="../media/image16.png"/><Relationship Id="rId5" Type="http://schemas.openxmlformats.org/officeDocument/2006/relationships/tags" Target="../tags/tag19.xml"/><Relationship Id="rId10" Type="http://schemas.openxmlformats.org/officeDocument/2006/relationships/image" Target="../media/image15.png"/><Relationship Id="rId4" Type="http://schemas.openxmlformats.org/officeDocument/2006/relationships/tags" Target="../tags/tag18.xml"/><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emf"/><Relationship Id="rId18" Type="http://schemas.openxmlformats.org/officeDocument/2006/relationships/image" Target="../media/image34.png"/><Relationship Id="rId3" Type="http://schemas.openxmlformats.org/officeDocument/2006/relationships/image" Target="../media/image19.png"/><Relationship Id="rId21" Type="http://schemas.openxmlformats.org/officeDocument/2006/relationships/image" Target="../media/image37.png"/><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3.png"/><Relationship Id="rId2" Type="http://schemas.openxmlformats.org/officeDocument/2006/relationships/notesSlide" Target="../notesSlides/notesSlide3.xml"/><Relationship Id="rId16" Type="http://schemas.openxmlformats.org/officeDocument/2006/relationships/image" Target="../media/image32.png"/><Relationship Id="rId20" Type="http://schemas.openxmlformats.org/officeDocument/2006/relationships/image" Target="../media/image36.png"/><Relationship Id="rId1" Type="http://schemas.openxmlformats.org/officeDocument/2006/relationships/slideLayout" Target="../slideLayouts/slideLayout50.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emf"/><Relationship Id="rId19" Type="http://schemas.openxmlformats.org/officeDocument/2006/relationships/image" Target="../media/image35.png"/><Relationship Id="rId4" Type="http://schemas.openxmlformats.org/officeDocument/2006/relationships/image" Target="../media/image20.png"/><Relationship Id="rId9" Type="http://schemas.openxmlformats.org/officeDocument/2006/relationships/image" Target="../media/image25.emf"/><Relationship Id="rId14" Type="http://schemas.openxmlformats.org/officeDocument/2006/relationships/image" Target="../media/image30.emf"/><Relationship Id="rId22" Type="http://schemas.openxmlformats.org/officeDocument/2006/relationships/image" Target="../media/image3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8" name="Group 7"/>
          <p:cNvGrpSpPr>
            <a:grpSpLocks noChangeAspect="1"/>
          </p:cNvGrpSpPr>
          <p:nvPr/>
        </p:nvGrpSpPr>
        <p:grpSpPr>
          <a:xfrm>
            <a:off x="457200" y="1264881"/>
            <a:ext cx="5303838" cy="3603982"/>
            <a:chOff x="2409325" y="103896"/>
            <a:chExt cx="2437314" cy="1656166"/>
          </a:xfrm>
        </p:grpSpPr>
        <p:sp>
          <p:nvSpPr>
            <p:cNvPr id="9" name="Freeform 8"/>
            <p:cNvSpPr>
              <a:spLocks noChangeAspect="1"/>
            </p:cNvSpPr>
            <p:nvPr/>
          </p:nvSpPr>
          <p:spPr>
            <a:xfrm>
              <a:off x="2409325" y="103896"/>
              <a:ext cx="2437314" cy="1656166"/>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463040" rtlCol="0" anchor="ctr"/>
            <a:lstStyle/>
            <a:p>
              <a:pPr algn="ctr">
                <a:lnSpc>
                  <a:spcPct val="80000"/>
                </a:lnSpc>
              </a:pPr>
              <a:endParaRPr lang="en-US" sz="6000" dirty="0">
                <a:solidFill>
                  <a:prstClr val="white"/>
                </a:solidFill>
                <a:latin typeface="Segoe UI Semibold" panose="020B0702040204020203" pitchFamily="34" charset="0"/>
              </a:endParaRPr>
            </a:p>
          </p:txBody>
        </p:sp>
        <p:sp>
          <p:nvSpPr>
            <p:cNvPr id="10" name="Freeform 9"/>
            <p:cNvSpPr/>
            <p:nvPr/>
          </p:nvSpPr>
          <p:spPr>
            <a:xfrm>
              <a:off x="2464758" y="189392"/>
              <a:ext cx="2238266" cy="1485174"/>
            </a:xfrm>
            <a:custGeom>
              <a:avLst/>
              <a:gdLst>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75466 w 827623"/>
                <a:gd name="connsiteY11" fmla="*/ 546384 h 549160"/>
                <a:gd name="connsiteX12" fmla="*/ 161716 w 827623"/>
                <a:gd name="connsiteY12" fmla="*/ 549160 h 549160"/>
                <a:gd name="connsiteX13" fmla="*/ 0 w 827623"/>
                <a:gd name="connsiteY13" fmla="*/ 387444 h 549160"/>
                <a:gd name="connsiteX14" fmla="*/ 98769 w 827623"/>
                <a:gd name="connsiteY14" fmla="*/ 238437 h 549160"/>
                <a:gd name="connsiteX15" fmla="*/ 140073 w 827623"/>
                <a:gd name="connsiteY15" fmla="*/ 230098 h 549160"/>
                <a:gd name="connsiteX16" fmla="*/ 137808 w 827623"/>
                <a:gd name="connsiteY16" fmla="*/ 218878 h 549160"/>
                <a:gd name="connsiteX17" fmla="*/ 356686 w 827623"/>
                <a:gd name="connsiteY17"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660947 w 827623"/>
                <a:gd name="connsiteY10" fmla="*/ 546384 h 549160"/>
                <a:gd name="connsiteX11" fmla="*/ 161716 w 827623"/>
                <a:gd name="connsiteY11" fmla="*/ 549160 h 549160"/>
                <a:gd name="connsiteX12" fmla="*/ 0 w 827623"/>
                <a:gd name="connsiteY12" fmla="*/ 387444 h 549160"/>
                <a:gd name="connsiteX13" fmla="*/ 98769 w 827623"/>
                <a:gd name="connsiteY13" fmla="*/ 238437 h 549160"/>
                <a:gd name="connsiteX14" fmla="*/ 140073 w 827623"/>
                <a:gd name="connsiteY14" fmla="*/ 230098 h 549160"/>
                <a:gd name="connsiteX15" fmla="*/ 137808 w 827623"/>
                <a:gd name="connsiteY15" fmla="*/ 218878 h 549160"/>
                <a:gd name="connsiteX16" fmla="*/ 356686 w 827623"/>
                <a:gd name="connsiteY16" fmla="*/ 0 h 549160"/>
                <a:gd name="connsiteX0" fmla="*/ 356686 w 827623"/>
                <a:gd name="connsiteY0" fmla="*/ 0 h 549160"/>
                <a:gd name="connsiteX1" fmla="*/ 511456 w 827623"/>
                <a:gd name="connsiteY1" fmla="*/ 64108 h 549160"/>
                <a:gd name="connsiteX2" fmla="*/ 550831 w 827623"/>
                <a:gd name="connsiteY2" fmla="*/ 122508 h 549160"/>
                <a:gd name="connsiteX3" fmla="*/ 581433 w 827623"/>
                <a:gd name="connsiteY3" fmla="*/ 101570 h 549160"/>
                <a:gd name="connsiteX4" fmla="*/ 627560 w 827623"/>
                <a:gd name="connsiteY4" fmla="*/ 92120 h 549160"/>
                <a:gd name="connsiteX5" fmla="*/ 746064 w 827623"/>
                <a:gd name="connsiteY5" fmla="*/ 212376 h 549160"/>
                <a:gd name="connsiteX6" fmla="*/ 742437 w 827623"/>
                <a:gd name="connsiteY6" fmla="*/ 230608 h 549160"/>
                <a:gd name="connsiteX7" fmla="*/ 778805 w 827623"/>
                <a:gd name="connsiteY7" fmla="*/ 255490 h 549160"/>
                <a:gd name="connsiteX8" fmla="*/ 827623 w 827623"/>
                <a:gd name="connsiteY8" fmla="*/ 375091 h 549160"/>
                <a:gd name="connsiteX9" fmla="*/ 660947 w 827623"/>
                <a:gd name="connsiteY9" fmla="*/ 544232 h 549160"/>
                <a:gd name="connsiteX10" fmla="*/ 161716 w 827623"/>
                <a:gd name="connsiteY10" fmla="*/ 549160 h 549160"/>
                <a:gd name="connsiteX11" fmla="*/ 0 w 827623"/>
                <a:gd name="connsiteY11" fmla="*/ 387444 h 549160"/>
                <a:gd name="connsiteX12" fmla="*/ 98769 w 827623"/>
                <a:gd name="connsiteY12" fmla="*/ 238437 h 549160"/>
                <a:gd name="connsiteX13" fmla="*/ 140073 w 827623"/>
                <a:gd name="connsiteY13" fmla="*/ 230098 h 549160"/>
                <a:gd name="connsiteX14" fmla="*/ 137808 w 827623"/>
                <a:gd name="connsiteY14" fmla="*/ 218878 h 549160"/>
                <a:gd name="connsiteX15" fmla="*/ 356686 w 827623"/>
                <a:gd name="connsiteY15" fmla="*/ 0 h 5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7623" h="549160">
                  <a:moveTo>
                    <a:pt x="356686" y="0"/>
                  </a:moveTo>
                  <a:cubicBezTo>
                    <a:pt x="417127" y="0"/>
                    <a:pt x="471847" y="24499"/>
                    <a:pt x="511456" y="64108"/>
                  </a:cubicBezTo>
                  <a:lnTo>
                    <a:pt x="550831" y="122508"/>
                  </a:lnTo>
                  <a:lnTo>
                    <a:pt x="581433" y="101570"/>
                  </a:lnTo>
                  <a:cubicBezTo>
                    <a:pt x="595611" y="95485"/>
                    <a:pt x="611198" y="92120"/>
                    <a:pt x="627560" y="92120"/>
                  </a:cubicBezTo>
                  <a:cubicBezTo>
                    <a:pt x="693008" y="92120"/>
                    <a:pt x="746064" y="145960"/>
                    <a:pt x="746064" y="212376"/>
                  </a:cubicBezTo>
                  <a:lnTo>
                    <a:pt x="742437" y="230608"/>
                  </a:lnTo>
                  <a:lnTo>
                    <a:pt x="778805" y="255490"/>
                  </a:lnTo>
                  <a:cubicBezTo>
                    <a:pt x="808967" y="286099"/>
                    <a:pt x="827623" y="328384"/>
                    <a:pt x="827623" y="375091"/>
                  </a:cubicBezTo>
                  <a:cubicBezTo>
                    <a:pt x="827623" y="468505"/>
                    <a:pt x="753000" y="544232"/>
                    <a:pt x="660947" y="544232"/>
                  </a:cubicBezTo>
                  <a:lnTo>
                    <a:pt x="161716" y="549160"/>
                  </a:lnTo>
                  <a:cubicBezTo>
                    <a:pt x="72403" y="549160"/>
                    <a:pt x="0" y="476757"/>
                    <a:pt x="0" y="387444"/>
                  </a:cubicBezTo>
                  <a:cubicBezTo>
                    <a:pt x="0" y="320459"/>
                    <a:pt x="40727" y="262986"/>
                    <a:pt x="98769" y="238437"/>
                  </a:cubicBezTo>
                  <a:lnTo>
                    <a:pt x="140073" y="230098"/>
                  </a:lnTo>
                  <a:lnTo>
                    <a:pt x="137808" y="218878"/>
                  </a:lnTo>
                  <a:cubicBezTo>
                    <a:pt x="137808" y="97995"/>
                    <a:pt x="235803" y="0"/>
                    <a:pt x="356686" y="0"/>
                  </a:cubicBezTo>
                  <a:close/>
                </a:path>
              </a:pathLst>
            </a:custGeom>
            <a:gradFill>
              <a:gsLst>
                <a:gs pos="50000">
                  <a:srgbClr val="5EB6DA"/>
                </a:gs>
                <a:gs pos="50000">
                  <a:srgbClr val="3999C6"/>
                </a:gs>
              </a:gsLst>
              <a:lin ang="81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r>
                <a:rPr lang="en-US" sz="6600" spc="-150" dirty="0">
                  <a:solidFill>
                    <a:prstClr val="white"/>
                  </a:solidFill>
                  <a:latin typeface="Segoe UI Light"/>
                </a:rPr>
                <a:t>Azure </a:t>
              </a:r>
              <a:r>
                <a:rPr lang="en-US" sz="6600" spc="-150" dirty="0" err="1">
                  <a:solidFill>
                    <a:prstClr val="white"/>
                  </a:solidFill>
                  <a:latin typeface="Segoe UI Light"/>
                </a:rPr>
                <a:t>IoT</a:t>
              </a:r>
              <a:endParaRPr lang="en-US" sz="6600" spc="-150" dirty="0">
                <a:solidFill>
                  <a:prstClr val="white"/>
                </a:solidFill>
                <a:latin typeface="Segoe UI Light"/>
              </a:endParaRPr>
            </a:p>
          </p:txBody>
        </p:sp>
      </p:grpSp>
      <p:sp>
        <p:nvSpPr>
          <p:cNvPr id="3" name="Text Placeholder 2">
            <a:extLst>
              <a:ext uri="{FF2B5EF4-FFF2-40B4-BE49-F238E27FC236}">
                <a16:creationId xmlns:a16="http://schemas.microsoft.com/office/drawing/2014/main" id="{C52185BE-EA22-4881-A62E-C86277A38150}"/>
              </a:ext>
            </a:extLst>
          </p:cNvPr>
          <p:cNvSpPr>
            <a:spLocks noGrp="1"/>
          </p:cNvSpPr>
          <p:nvPr>
            <p:ph type="body" sz="quarter" idx="13"/>
          </p:nvPr>
        </p:nvSpPr>
        <p:spPr/>
        <p:txBody>
          <a:bodyPr/>
          <a:lstStyle/>
          <a:p>
            <a:endParaRPr lang="en-CA"/>
          </a:p>
        </p:txBody>
      </p:sp>
      <p:sp>
        <p:nvSpPr>
          <p:cNvPr id="5" name="Text Placeholder 4">
            <a:extLst>
              <a:ext uri="{FF2B5EF4-FFF2-40B4-BE49-F238E27FC236}">
                <a16:creationId xmlns:a16="http://schemas.microsoft.com/office/drawing/2014/main" id="{3A3B5E23-CA2A-405C-9F0B-5E0280347064}"/>
              </a:ext>
            </a:extLst>
          </p:cNvPr>
          <p:cNvSpPr>
            <a:spLocks noGrp="1"/>
          </p:cNvSpPr>
          <p:nvPr>
            <p:ph type="body" sz="quarter" idx="12"/>
          </p:nvPr>
        </p:nvSpPr>
        <p:spPr/>
        <p:txBody>
          <a:bodyPr/>
          <a:lstStyle/>
          <a:p>
            <a:endParaRPr lang="en-CA"/>
          </a:p>
        </p:txBody>
      </p:sp>
    </p:spTree>
    <p:extLst>
      <p:ext uri="{BB962C8B-B14F-4D97-AF65-F5344CB8AC3E}">
        <p14:creationId xmlns:p14="http://schemas.microsoft.com/office/powerpoint/2010/main" val="11449330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ud-to-device messages</a:t>
            </a:r>
          </a:p>
        </p:txBody>
      </p:sp>
      <p:sp>
        <p:nvSpPr>
          <p:cNvPr id="3" name="Text Placeholder 2"/>
          <p:cNvSpPr>
            <a:spLocks noGrp="1"/>
          </p:cNvSpPr>
          <p:nvPr>
            <p:ph type="body" sz="quarter" idx="10"/>
          </p:nvPr>
        </p:nvSpPr>
        <p:spPr>
          <a:xfrm>
            <a:off x="274640" y="1212849"/>
            <a:ext cx="5486399" cy="5743111"/>
          </a:xfrm>
        </p:spPr>
        <p:txBody>
          <a:bodyPr/>
          <a:lstStyle/>
          <a:p>
            <a:r>
              <a:rPr lang="en-US" dirty="0"/>
              <a:t>Interface</a:t>
            </a:r>
          </a:p>
          <a:p>
            <a:pPr lvl="1"/>
            <a:r>
              <a:rPr lang="en-US" dirty="0"/>
              <a:t>AMQP and HTTPS device-side endpoint</a:t>
            </a:r>
          </a:p>
          <a:p>
            <a:pPr lvl="1"/>
            <a:r>
              <a:rPr lang="en-US" dirty="0"/>
              <a:t>AMQP service-side endpoint</a:t>
            </a:r>
          </a:p>
          <a:p>
            <a:r>
              <a:rPr lang="en-US" dirty="0"/>
              <a:t>At-least-once semantics</a:t>
            </a:r>
          </a:p>
          <a:p>
            <a:pPr lvl="1"/>
            <a:r>
              <a:rPr lang="en-US" dirty="0"/>
              <a:t>Durable messages</a:t>
            </a:r>
          </a:p>
          <a:p>
            <a:pPr lvl="1"/>
            <a:r>
              <a:rPr lang="en-US" dirty="0"/>
              <a:t>Device acknowledges receipt</a:t>
            </a:r>
            <a:br>
              <a:rPr lang="en-US" dirty="0"/>
            </a:br>
            <a:r>
              <a:rPr lang="en-US" dirty="0"/>
              <a:t>(Send - Receive - Abandon OR Complete)</a:t>
            </a:r>
          </a:p>
          <a:p>
            <a:r>
              <a:rPr lang="en-US" dirty="0"/>
              <a:t>TTL and receipts</a:t>
            </a:r>
          </a:p>
          <a:p>
            <a:pPr lvl="1"/>
            <a:r>
              <a:rPr lang="en-US" dirty="0"/>
              <a:t>Per-message TTL</a:t>
            </a:r>
          </a:p>
          <a:p>
            <a:pPr lvl="1"/>
            <a:r>
              <a:rPr lang="en-US" dirty="0"/>
              <a:t>Per-message positive and negative receipts</a:t>
            </a:r>
          </a:p>
          <a:p>
            <a:r>
              <a:rPr lang="en-US" dirty="0"/>
              <a:t>Command lifecycle pattern</a:t>
            </a:r>
          </a:p>
          <a:p>
            <a:pPr lvl="1"/>
            <a:r>
              <a:rPr lang="en-US" dirty="0"/>
              <a:t>Use correlated D2C for responses</a:t>
            </a:r>
          </a:p>
          <a:p>
            <a:pPr lvl="1"/>
            <a:r>
              <a:rPr lang="en-US" dirty="0"/>
              <a:t>Use feedback information to retry</a:t>
            </a:r>
          </a:p>
          <a:p>
            <a:pPr lvl="1"/>
            <a:r>
              <a:rPr lang="en-US" dirty="0"/>
              <a:t>Store command state in command registry</a:t>
            </a:r>
          </a:p>
        </p:txBody>
      </p:sp>
      <p:grpSp>
        <p:nvGrpSpPr>
          <p:cNvPr id="19" name="Group 18"/>
          <p:cNvGrpSpPr/>
          <p:nvPr/>
        </p:nvGrpSpPr>
        <p:grpSpPr>
          <a:xfrm>
            <a:off x="7772700" y="1942799"/>
            <a:ext cx="3112975" cy="3840438"/>
            <a:chOff x="3749384" y="2308555"/>
            <a:chExt cx="3112975" cy="3840438"/>
          </a:xfrm>
        </p:grpSpPr>
        <p:sp>
          <p:nvSpPr>
            <p:cNvPr id="20" name="Rectangle 19"/>
            <p:cNvSpPr/>
            <p:nvPr/>
          </p:nvSpPr>
          <p:spPr bwMode="auto">
            <a:xfrm>
              <a:off x="3749384" y="2308555"/>
              <a:ext cx="3112975" cy="3840438"/>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2000" dirty="0">
                  <a:gradFill>
                    <a:gsLst>
                      <a:gs pos="16814">
                        <a:srgbClr val="FFFFFF"/>
                      </a:gs>
                      <a:gs pos="46000">
                        <a:srgbClr val="FFFFFF"/>
                      </a:gs>
                    </a:gsLst>
                    <a:lin ang="5400000" scaled="0"/>
                  </a:gradFill>
                </a:rPr>
                <a:t>Azure IoT Suite: IoT Hub</a:t>
              </a:r>
            </a:p>
          </p:txBody>
        </p:sp>
        <p:grpSp>
          <p:nvGrpSpPr>
            <p:cNvPr id="21" name="Group 20"/>
            <p:cNvGrpSpPr/>
            <p:nvPr/>
          </p:nvGrpSpPr>
          <p:grpSpPr>
            <a:xfrm>
              <a:off x="3932262" y="2857189"/>
              <a:ext cx="1371585" cy="1554464"/>
              <a:chOff x="1829165" y="3680140"/>
              <a:chExt cx="1371585" cy="1554464"/>
            </a:xfrm>
          </p:grpSpPr>
          <p:sp>
            <p:nvSpPr>
              <p:cNvPr id="28" name="Rectangle 27"/>
              <p:cNvSpPr/>
              <p:nvPr/>
            </p:nvSpPr>
            <p:spPr bwMode="auto">
              <a:xfrm>
                <a:off x="1829165" y="3680140"/>
                <a:ext cx="1371585" cy="1554464"/>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Device </a:t>
                </a:r>
                <a:r>
                  <a:rPr lang="en-US" sz="1400" i="1" dirty="0">
                    <a:gradFill>
                      <a:gsLst>
                        <a:gs pos="16814">
                          <a:srgbClr val="FFFFFF"/>
                        </a:gs>
                        <a:gs pos="46000">
                          <a:srgbClr val="FFFFFF"/>
                        </a:gs>
                      </a:gsLst>
                      <a:lin ang="5400000" scaled="0"/>
                    </a:gradFill>
                  </a:rPr>
                  <a:t>id</a:t>
                </a:r>
              </a:p>
            </p:txBody>
          </p:sp>
          <p:sp>
            <p:nvSpPr>
              <p:cNvPr id="29" name="Rectangle 28"/>
              <p:cNvSpPr/>
              <p:nvPr/>
            </p:nvSpPr>
            <p:spPr bwMode="auto">
              <a:xfrm>
                <a:off x="2012042" y="4594530"/>
                <a:ext cx="1005829" cy="457195"/>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200" b="1" dirty="0">
                    <a:gradFill>
                      <a:gsLst>
                        <a:gs pos="16814">
                          <a:srgbClr val="FFFFFF"/>
                        </a:gs>
                        <a:gs pos="46000">
                          <a:srgbClr val="FFFFFF"/>
                        </a:gs>
                      </a:gsLst>
                      <a:lin ang="5400000" scaled="0"/>
                    </a:gradFill>
                  </a:rPr>
                  <a:t>C2D queue</a:t>
                </a:r>
              </a:p>
              <a:p>
                <a:pPr algn="ctr" defTabSz="932398" fontAlgn="base">
                  <a:spcBef>
                    <a:spcPct val="0"/>
                  </a:spcBef>
                  <a:spcAft>
                    <a:spcPct val="0"/>
                  </a:spcAft>
                </a:pPr>
                <a:r>
                  <a:rPr lang="en-US" sz="1200" b="1" dirty="0">
                    <a:gradFill>
                      <a:gsLst>
                        <a:gs pos="16814">
                          <a:srgbClr val="FFFFFF"/>
                        </a:gs>
                        <a:gs pos="46000">
                          <a:srgbClr val="FFFFFF"/>
                        </a:gs>
                      </a:gsLst>
                      <a:lin ang="5400000" scaled="0"/>
                    </a:gradFill>
                  </a:rPr>
                  <a:t>endpoint</a:t>
                </a:r>
              </a:p>
            </p:txBody>
          </p:sp>
          <p:sp>
            <p:nvSpPr>
              <p:cNvPr id="30" name="Rectangle 29"/>
              <p:cNvSpPr/>
              <p:nvPr/>
            </p:nvSpPr>
            <p:spPr bwMode="auto">
              <a:xfrm>
                <a:off x="2012041" y="4045896"/>
                <a:ext cx="1005829" cy="457195"/>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200" dirty="0">
                    <a:gradFill>
                      <a:gsLst>
                        <a:gs pos="16814">
                          <a:srgbClr val="FFFFFF"/>
                        </a:gs>
                        <a:gs pos="46000">
                          <a:srgbClr val="FFFFFF"/>
                        </a:gs>
                      </a:gsLst>
                      <a:lin ang="5400000" scaled="0"/>
                    </a:gradFill>
                  </a:rPr>
                  <a:t>D2C send endpoint</a:t>
                </a:r>
              </a:p>
            </p:txBody>
          </p:sp>
        </p:grpSp>
        <p:sp>
          <p:nvSpPr>
            <p:cNvPr id="22" name="Rectangle 21"/>
            <p:cNvSpPr/>
            <p:nvPr/>
          </p:nvSpPr>
          <p:spPr bwMode="auto">
            <a:xfrm>
              <a:off x="3932262" y="4594530"/>
              <a:ext cx="1371585" cy="365757"/>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Device </a:t>
              </a:r>
              <a:r>
                <a:rPr lang="en-US" sz="1400" i="1" dirty="0">
                  <a:gradFill>
                    <a:gsLst>
                      <a:gs pos="16814">
                        <a:srgbClr val="FFFFFF"/>
                      </a:gs>
                      <a:gs pos="46000">
                        <a:srgbClr val="FFFFFF"/>
                      </a:gs>
                    </a:gsLst>
                    <a:lin ang="5400000" scaled="0"/>
                  </a:gradFill>
                </a:rPr>
                <a:t>…</a:t>
              </a:r>
            </a:p>
          </p:txBody>
        </p:sp>
        <p:sp>
          <p:nvSpPr>
            <p:cNvPr id="23" name="Rectangle 22"/>
            <p:cNvSpPr/>
            <p:nvPr/>
          </p:nvSpPr>
          <p:spPr bwMode="auto">
            <a:xfrm>
              <a:off x="3932262" y="5076794"/>
              <a:ext cx="1371585" cy="365757"/>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Device </a:t>
              </a:r>
              <a:r>
                <a:rPr lang="en-US" sz="1400" i="1" dirty="0">
                  <a:gradFill>
                    <a:gsLst>
                      <a:gs pos="16814">
                        <a:srgbClr val="FFFFFF"/>
                      </a:gs>
                      <a:gs pos="46000">
                        <a:srgbClr val="FFFFFF"/>
                      </a:gs>
                    </a:gsLst>
                    <a:lin ang="5400000" scaled="0"/>
                  </a:gradFill>
                </a:rPr>
                <a:t>…</a:t>
              </a:r>
            </a:p>
          </p:txBody>
        </p:sp>
        <p:sp>
          <p:nvSpPr>
            <p:cNvPr id="24" name="Rectangle 23"/>
            <p:cNvSpPr/>
            <p:nvPr/>
          </p:nvSpPr>
          <p:spPr bwMode="auto">
            <a:xfrm>
              <a:off x="3932259" y="5517920"/>
              <a:ext cx="1371585" cy="365757"/>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Device </a:t>
              </a:r>
              <a:r>
                <a:rPr lang="en-US" sz="1400" i="1" dirty="0">
                  <a:gradFill>
                    <a:gsLst>
                      <a:gs pos="16814">
                        <a:srgbClr val="FFFFFF"/>
                      </a:gs>
                      <a:gs pos="46000">
                        <a:srgbClr val="FFFFFF"/>
                      </a:gs>
                    </a:gsLst>
                    <a:lin ang="5400000" scaled="0"/>
                  </a:gradFill>
                </a:rPr>
                <a:t>…</a:t>
              </a:r>
            </a:p>
          </p:txBody>
        </p:sp>
        <p:sp>
          <p:nvSpPr>
            <p:cNvPr id="25" name="Rectangle 24"/>
            <p:cNvSpPr/>
            <p:nvPr/>
          </p:nvSpPr>
          <p:spPr bwMode="auto">
            <a:xfrm>
              <a:off x="5364082" y="2857532"/>
              <a:ext cx="1371585" cy="548635"/>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D2C receive endpoint</a:t>
              </a:r>
              <a:endParaRPr lang="en-US" sz="1400" i="1" dirty="0">
                <a:gradFill>
                  <a:gsLst>
                    <a:gs pos="16814">
                      <a:srgbClr val="FFFFFF"/>
                    </a:gs>
                    <a:gs pos="46000">
                      <a:srgbClr val="FFFFFF"/>
                    </a:gs>
                  </a:gsLst>
                  <a:lin ang="5400000" scaled="0"/>
                </a:gradFill>
              </a:endParaRPr>
            </a:p>
          </p:txBody>
        </p:sp>
        <p:sp>
          <p:nvSpPr>
            <p:cNvPr id="26" name="Rectangle 25"/>
            <p:cNvSpPr/>
            <p:nvPr/>
          </p:nvSpPr>
          <p:spPr bwMode="auto">
            <a:xfrm>
              <a:off x="5350879" y="3576378"/>
              <a:ext cx="1371585" cy="548635"/>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b="1" dirty="0">
                  <a:gradFill>
                    <a:gsLst>
                      <a:gs pos="16814">
                        <a:srgbClr val="FFFFFF"/>
                      </a:gs>
                      <a:gs pos="46000">
                        <a:srgbClr val="FFFFFF"/>
                      </a:gs>
                    </a:gsLst>
                    <a:lin ang="5400000" scaled="0"/>
                  </a:gradFill>
                </a:rPr>
                <a:t>C2D send endpoint</a:t>
              </a:r>
              <a:endParaRPr lang="en-US" sz="1400" b="1" i="1" dirty="0">
                <a:gradFill>
                  <a:gsLst>
                    <a:gs pos="16814">
                      <a:srgbClr val="FFFFFF"/>
                    </a:gs>
                    <a:gs pos="46000">
                      <a:srgbClr val="FFFFFF"/>
                    </a:gs>
                  </a:gsLst>
                  <a:lin ang="5400000" scaled="0"/>
                </a:gradFill>
              </a:endParaRPr>
            </a:p>
          </p:txBody>
        </p:sp>
        <p:sp>
          <p:nvSpPr>
            <p:cNvPr id="27" name="Rectangle 26"/>
            <p:cNvSpPr/>
            <p:nvPr/>
          </p:nvSpPr>
          <p:spPr bwMode="auto">
            <a:xfrm>
              <a:off x="5364081" y="5243458"/>
              <a:ext cx="1371585" cy="641746"/>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Device identity management</a:t>
              </a:r>
            </a:p>
          </p:txBody>
        </p:sp>
      </p:grpSp>
      <p:cxnSp>
        <p:nvCxnSpPr>
          <p:cNvPr id="31" name="Straight Arrow Connector 30"/>
          <p:cNvCxnSpPr/>
          <p:nvPr/>
        </p:nvCxnSpPr>
        <p:spPr>
          <a:xfrm flipH="1">
            <a:off x="7545429" y="3634420"/>
            <a:ext cx="592937" cy="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10767128" y="4317542"/>
            <a:ext cx="600999" cy="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9374195" y="3933809"/>
            <a:ext cx="1371585" cy="777229"/>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b="1" dirty="0" err="1">
                <a:gradFill>
                  <a:gsLst>
                    <a:gs pos="16814">
                      <a:srgbClr val="FFFFFF"/>
                    </a:gs>
                    <a:gs pos="46000">
                      <a:srgbClr val="FFFFFF"/>
                    </a:gs>
                  </a:gsLst>
                  <a:lin ang="5400000" scaled="0"/>
                </a:gradFill>
              </a:rPr>
              <a:t>Msg</a:t>
            </a:r>
            <a:r>
              <a:rPr lang="en-US" sz="1400" b="1" dirty="0">
                <a:gradFill>
                  <a:gsLst>
                    <a:gs pos="16814">
                      <a:srgbClr val="FFFFFF"/>
                    </a:gs>
                    <a:gs pos="46000">
                      <a:srgbClr val="FFFFFF"/>
                    </a:gs>
                  </a:gsLst>
                  <a:lin ang="5400000" scaled="0"/>
                </a:gradFill>
              </a:rPr>
              <a:t> feedback and monitoring endpoint</a:t>
            </a:r>
          </a:p>
        </p:txBody>
      </p:sp>
      <p:cxnSp>
        <p:nvCxnSpPr>
          <p:cNvPr id="34" name="Straight Arrow Connector 33"/>
          <p:cNvCxnSpPr/>
          <p:nvPr/>
        </p:nvCxnSpPr>
        <p:spPr>
          <a:xfrm flipH="1">
            <a:off x="10758982" y="3484939"/>
            <a:ext cx="592937" cy="0"/>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37561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
                                            <p:txEl>
                                              <p:pRg st="11" end="11"/>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oT Suite: IoT Hub</a:t>
            </a:r>
          </a:p>
        </p:txBody>
      </p:sp>
      <p:sp>
        <p:nvSpPr>
          <p:cNvPr id="3" name="Text Placeholder 2"/>
          <p:cNvSpPr>
            <a:spLocks noGrp="1"/>
          </p:cNvSpPr>
          <p:nvPr>
            <p:ph type="body" sz="quarter" idx="10"/>
          </p:nvPr>
        </p:nvSpPr>
        <p:spPr>
          <a:xfrm>
            <a:off x="274640" y="1212849"/>
            <a:ext cx="6035036" cy="5066002"/>
          </a:xfrm>
        </p:spPr>
        <p:txBody>
          <a:bodyPr/>
          <a:lstStyle/>
          <a:p>
            <a:r>
              <a:rPr lang="en-US" dirty="0"/>
              <a:t>Designed for IoT</a:t>
            </a:r>
          </a:p>
          <a:p>
            <a:pPr lvl="1"/>
            <a:r>
              <a:rPr lang="en-US" dirty="0"/>
              <a:t>Connect millions of devices to a partitioned application back-end</a:t>
            </a:r>
          </a:p>
          <a:p>
            <a:r>
              <a:rPr lang="en-US" dirty="0"/>
              <a:t>Service assisted communications</a:t>
            </a:r>
          </a:p>
          <a:p>
            <a:pPr lvl="1"/>
            <a:r>
              <a:rPr lang="en-US" dirty="0"/>
              <a:t>Devices are not servers</a:t>
            </a:r>
          </a:p>
          <a:p>
            <a:pPr lvl="1"/>
            <a:r>
              <a:rPr lang="en-US" dirty="0"/>
              <a:t>Use IoT Hub to enable secure bi-directional </a:t>
            </a:r>
            <a:r>
              <a:rPr lang="en-US" dirty="0" err="1"/>
              <a:t>comms</a:t>
            </a:r>
            <a:endParaRPr lang="en-US" dirty="0"/>
          </a:p>
          <a:p>
            <a:r>
              <a:rPr lang="en-US" dirty="0"/>
              <a:t>Cloud-scale messaging</a:t>
            </a:r>
          </a:p>
          <a:p>
            <a:pPr lvl="1"/>
            <a:r>
              <a:rPr lang="en-US" dirty="0"/>
              <a:t>Device-to-cloud and Cloud-to-device</a:t>
            </a:r>
          </a:p>
          <a:p>
            <a:pPr lvl="1"/>
            <a:r>
              <a:rPr lang="en-US" dirty="0"/>
              <a:t>Durable messages (</a:t>
            </a:r>
            <a:r>
              <a:rPr lang="en-US" i="1" dirty="0"/>
              <a:t>at least once </a:t>
            </a:r>
            <a:r>
              <a:rPr lang="en-US" dirty="0"/>
              <a:t>semantics)</a:t>
            </a:r>
          </a:p>
          <a:p>
            <a:r>
              <a:rPr lang="en-US" dirty="0"/>
              <a:t>Cloud-facing feedback</a:t>
            </a:r>
          </a:p>
          <a:p>
            <a:pPr lvl="1"/>
            <a:r>
              <a:rPr lang="en-US" dirty="0"/>
              <a:t>Delivery receipts, expired messages</a:t>
            </a:r>
          </a:p>
          <a:p>
            <a:pPr lvl="1"/>
            <a:r>
              <a:rPr lang="en-US" dirty="0"/>
              <a:t>Device communication errors</a:t>
            </a:r>
          </a:p>
        </p:txBody>
      </p:sp>
      <p:sp>
        <p:nvSpPr>
          <p:cNvPr id="4" name="Text Placeholder 3"/>
          <p:cNvSpPr>
            <a:spLocks noGrp="1"/>
          </p:cNvSpPr>
          <p:nvPr>
            <p:ph type="body" sz="quarter" idx="11"/>
          </p:nvPr>
        </p:nvSpPr>
        <p:spPr>
          <a:xfrm>
            <a:off x="6675440" y="1212849"/>
            <a:ext cx="5486399" cy="5004447"/>
          </a:xfrm>
        </p:spPr>
        <p:txBody>
          <a:bodyPr/>
          <a:lstStyle/>
          <a:p>
            <a:r>
              <a:rPr lang="en-US" dirty="0"/>
              <a:t>Per-device authentication</a:t>
            </a:r>
          </a:p>
          <a:p>
            <a:pPr lvl="1"/>
            <a:r>
              <a:rPr lang="en-US" dirty="0"/>
              <a:t>Individual device identities and credentials</a:t>
            </a:r>
          </a:p>
          <a:p>
            <a:r>
              <a:rPr lang="en-US" dirty="0"/>
              <a:t>Connection multiplexing</a:t>
            </a:r>
          </a:p>
          <a:p>
            <a:pPr lvl="1"/>
            <a:r>
              <a:rPr lang="en-US" dirty="0"/>
              <a:t>Single device-cloud connection for all communications (C2D, D2C)</a:t>
            </a:r>
          </a:p>
          <a:p>
            <a:r>
              <a:rPr lang="en-US" dirty="0"/>
              <a:t>Multi-protocol</a:t>
            </a:r>
          </a:p>
          <a:p>
            <a:pPr lvl="1"/>
            <a:r>
              <a:rPr lang="en-US" dirty="0"/>
              <a:t>Natively supports AMQP, HTTP</a:t>
            </a:r>
          </a:p>
          <a:p>
            <a:pPr lvl="1"/>
            <a:r>
              <a:rPr lang="en-US" dirty="0"/>
              <a:t>Designed for extensibility to custom protocols</a:t>
            </a:r>
          </a:p>
          <a:p>
            <a:r>
              <a:rPr lang="en-US" dirty="0"/>
              <a:t>Multi-platform</a:t>
            </a:r>
          </a:p>
          <a:p>
            <a:pPr lvl="1"/>
            <a:r>
              <a:rPr lang="en-US" dirty="0"/>
              <a:t>Device SDKs available for multiple platforms (e.g. RTOS, Linux, Windows)</a:t>
            </a:r>
          </a:p>
          <a:p>
            <a:pPr lvl="1"/>
            <a:r>
              <a:rPr lang="en-US" dirty="0"/>
              <a:t>Multi-platform Service SDK.</a:t>
            </a:r>
          </a:p>
        </p:txBody>
      </p:sp>
    </p:spTree>
    <p:extLst>
      <p:ext uri="{BB962C8B-B14F-4D97-AF65-F5344CB8AC3E}">
        <p14:creationId xmlns:p14="http://schemas.microsoft.com/office/powerpoint/2010/main" val="35638769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
                                            <p:txEl>
                                              <p:pRg st="0" end="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
                                            <p:txEl>
                                              <p:pRg st="2" end="2"/>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
                                            <p:txEl>
                                              <p:pRg st="4" end="4"/>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
                                            <p:txEl>
                                              <p:pRg st="5" end="5"/>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4">
                                            <p:txEl>
                                              <p:pRg st="7" end="7"/>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
                                            <p:txEl>
                                              <p:pRg st="8" end="8"/>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oT Suite SDKs</a:t>
            </a:r>
          </a:p>
        </p:txBody>
      </p:sp>
      <p:sp>
        <p:nvSpPr>
          <p:cNvPr id="4" name="Text Placeholder 3"/>
          <p:cNvSpPr>
            <a:spLocks noGrp="1"/>
          </p:cNvSpPr>
          <p:nvPr>
            <p:ph type="body" sz="quarter" idx="10"/>
          </p:nvPr>
        </p:nvSpPr>
        <p:spPr>
          <a:xfrm>
            <a:off x="274640" y="1212849"/>
            <a:ext cx="5486399" cy="5146024"/>
          </a:xfrm>
        </p:spPr>
        <p:txBody>
          <a:bodyPr/>
          <a:lstStyle/>
          <a:p>
            <a:r>
              <a:rPr lang="en-US" dirty="0"/>
              <a:t>Device-facing</a:t>
            </a:r>
          </a:p>
          <a:p>
            <a:pPr lvl="1"/>
            <a:r>
              <a:rPr lang="en-US" dirty="0"/>
              <a:t>For devices and field gateway</a:t>
            </a:r>
          </a:p>
          <a:p>
            <a:r>
              <a:rPr lang="en-US" dirty="0"/>
              <a:t>Platforms</a:t>
            </a:r>
          </a:p>
          <a:p>
            <a:pPr lvl="1"/>
            <a:r>
              <a:rPr lang="en-US" dirty="0"/>
              <a:t>RTOS (</a:t>
            </a:r>
            <a:r>
              <a:rPr lang="en-US" dirty="0" err="1"/>
              <a:t>FreeRTOS</a:t>
            </a:r>
            <a:r>
              <a:rPr lang="en-US" dirty="0"/>
              <a:t>)</a:t>
            </a:r>
          </a:p>
          <a:p>
            <a:pPr lvl="1"/>
            <a:r>
              <a:rPr lang="en-US" dirty="0"/>
              <a:t>Linux</a:t>
            </a:r>
            <a:br>
              <a:rPr lang="en-US" dirty="0"/>
            </a:br>
            <a:r>
              <a:rPr lang="en-US" dirty="0"/>
              <a:t>(Ubuntu, </a:t>
            </a:r>
            <a:r>
              <a:rPr lang="en-US" dirty="0" err="1"/>
              <a:t>Debian</a:t>
            </a:r>
            <a:r>
              <a:rPr lang="en-US" dirty="0"/>
              <a:t>, Fedora, </a:t>
            </a:r>
            <a:r>
              <a:rPr lang="en-US" dirty="0" err="1"/>
              <a:t>Raspbian</a:t>
            </a:r>
            <a:r>
              <a:rPr lang="en-US" dirty="0"/>
              <a:t>, Angstrom)</a:t>
            </a:r>
          </a:p>
          <a:p>
            <a:pPr lvl="1"/>
            <a:r>
              <a:rPr lang="en-US" dirty="0"/>
              <a:t>Windows 7/8/10</a:t>
            </a:r>
          </a:p>
          <a:p>
            <a:pPr lvl="1"/>
            <a:r>
              <a:rPr lang="en-US" dirty="0"/>
              <a:t>ARM </a:t>
            </a:r>
            <a:r>
              <a:rPr lang="en-US" dirty="0" err="1"/>
              <a:t>mbed</a:t>
            </a:r>
            <a:endParaRPr lang="en-US" dirty="0"/>
          </a:p>
          <a:p>
            <a:pPr lvl="1"/>
            <a:r>
              <a:rPr lang="en-US" dirty="0"/>
              <a:t>Android</a:t>
            </a:r>
          </a:p>
          <a:p>
            <a:pPr lvl="1"/>
            <a:r>
              <a:rPr lang="en-US" dirty="0"/>
              <a:t>iOS</a:t>
            </a:r>
          </a:p>
          <a:p>
            <a:pPr lvl="1"/>
            <a:r>
              <a:rPr lang="en-US" dirty="0"/>
              <a:t>…</a:t>
            </a:r>
          </a:p>
          <a:p>
            <a:r>
              <a:rPr lang="en-US" dirty="0"/>
              <a:t>Languages</a:t>
            </a:r>
          </a:p>
          <a:p>
            <a:pPr lvl="1"/>
            <a:r>
              <a:rPr lang="en-US" dirty="0"/>
              <a:t>C, Java, C#, </a:t>
            </a:r>
            <a:r>
              <a:rPr lang="en-US" dirty="0" err="1"/>
              <a:t>Javascript</a:t>
            </a:r>
            <a:endParaRPr lang="en-US" dirty="0"/>
          </a:p>
        </p:txBody>
      </p:sp>
      <p:sp>
        <p:nvSpPr>
          <p:cNvPr id="5" name="Text Placeholder 4"/>
          <p:cNvSpPr>
            <a:spLocks noGrp="1"/>
          </p:cNvSpPr>
          <p:nvPr>
            <p:ph type="body" sz="quarter" idx="11"/>
          </p:nvPr>
        </p:nvSpPr>
        <p:spPr>
          <a:xfrm>
            <a:off x="6675440" y="1212849"/>
            <a:ext cx="5486399" cy="2579168"/>
          </a:xfrm>
        </p:spPr>
        <p:txBody>
          <a:bodyPr/>
          <a:lstStyle/>
          <a:p>
            <a:r>
              <a:rPr lang="en-US" dirty="0"/>
              <a:t>Service-facing</a:t>
            </a:r>
          </a:p>
          <a:p>
            <a:pPr lvl="1"/>
            <a:r>
              <a:rPr lang="en-US" dirty="0"/>
              <a:t>For back-ends and cloud gateway</a:t>
            </a:r>
          </a:p>
          <a:p>
            <a:r>
              <a:rPr lang="en-US" dirty="0"/>
              <a:t>Languages</a:t>
            </a:r>
          </a:p>
          <a:p>
            <a:pPr lvl="1"/>
            <a:r>
              <a:rPr lang="en-US" dirty="0"/>
              <a:t>.NET C#</a:t>
            </a:r>
          </a:p>
          <a:p>
            <a:pPr lvl="1"/>
            <a:r>
              <a:rPr lang="en-US" dirty="0"/>
              <a:t>Java</a:t>
            </a:r>
          </a:p>
          <a:p>
            <a:pPr lvl="1"/>
            <a:r>
              <a:rPr lang="en-US" dirty="0"/>
              <a:t>Node</a:t>
            </a:r>
          </a:p>
        </p:txBody>
      </p:sp>
    </p:spTree>
    <p:extLst>
      <p:ext uri="{BB962C8B-B14F-4D97-AF65-F5344CB8AC3E}">
        <p14:creationId xmlns:p14="http://schemas.microsoft.com/office/powerpoint/2010/main" val="312897176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4" name="Straight Arrow Connector 103"/>
          <p:cNvCxnSpPr/>
          <p:nvPr/>
        </p:nvCxnSpPr>
        <p:spPr>
          <a:xfrm flipV="1">
            <a:off x="2213727" y="3337437"/>
            <a:ext cx="1865578" cy="758"/>
          </a:xfrm>
          <a:prstGeom prst="straightConnector1">
            <a:avLst/>
          </a:prstGeom>
          <a:noFill/>
          <a:ln w="38100" cap="flat" cmpd="sng" algn="ctr">
            <a:solidFill>
              <a:srgbClr val="00B0F0"/>
            </a:solidFill>
            <a:prstDash val="solid"/>
            <a:miter lim="800000"/>
            <a:headEnd type="triangle" w="med" len="med"/>
            <a:tailEnd type="triangle" w="med" len="med"/>
          </a:ln>
          <a:effectLst/>
        </p:spPr>
      </p:cxnSp>
      <p:sp>
        <p:nvSpPr>
          <p:cNvPr id="107" name="Oval 106"/>
          <p:cNvSpPr/>
          <p:nvPr/>
        </p:nvSpPr>
        <p:spPr>
          <a:xfrm>
            <a:off x="8719722" y="3801429"/>
            <a:ext cx="207709" cy="203346"/>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3873">
              <a:defRPr/>
            </a:pPr>
            <a:endParaRPr lang="en-US" sz="1097" kern="0">
              <a:solidFill>
                <a:prstClr val="white"/>
              </a:solidFill>
              <a:cs typeface="Arial" panose="020B0604020202020204" pitchFamily="34" charset="0"/>
            </a:endParaRPr>
          </a:p>
        </p:txBody>
      </p:sp>
      <p:sp>
        <p:nvSpPr>
          <p:cNvPr id="108" name="Oval 107"/>
          <p:cNvSpPr/>
          <p:nvPr/>
        </p:nvSpPr>
        <p:spPr>
          <a:xfrm>
            <a:off x="8719722" y="3801429"/>
            <a:ext cx="207709" cy="203346"/>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algn="ctr" defTabSz="913873">
              <a:defRPr/>
            </a:pPr>
            <a:endParaRPr lang="en-US" sz="1097" kern="0">
              <a:solidFill>
                <a:prstClr val="white"/>
              </a:solidFill>
              <a:cs typeface="Arial" panose="020B0604020202020204" pitchFamily="34" charset="0"/>
            </a:endParaRPr>
          </a:p>
        </p:txBody>
      </p:sp>
      <p:sp>
        <p:nvSpPr>
          <p:cNvPr id="109" name="Rectangle 108"/>
          <p:cNvSpPr/>
          <p:nvPr/>
        </p:nvSpPr>
        <p:spPr>
          <a:xfrm>
            <a:off x="4127841" y="2565279"/>
            <a:ext cx="5449117" cy="3102459"/>
          </a:xfrm>
          <a:prstGeom prst="rect">
            <a:avLst/>
          </a:prstGeom>
          <a:ln w="12700">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13873">
              <a:defRPr/>
            </a:pPr>
            <a:endParaRPr lang="en-US" sz="1097" kern="0" dirty="0">
              <a:solidFill>
                <a:prstClr val="black"/>
              </a:solidFill>
              <a:cs typeface="Arial" panose="020B0604020202020204" pitchFamily="34" charset="0"/>
            </a:endParaRPr>
          </a:p>
        </p:txBody>
      </p:sp>
      <p:sp>
        <p:nvSpPr>
          <p:cNvPr id="110" name="Rectangle 109"/>
          <p:cNvSpPr/>
          <p:nvPr/>
        </p:nvSpPr>
        <p:spPr>
          <a:xfrm>
            <a:off x="7270813" y="2751176"/>
            <a:ext cx="2056505" cy="394686"/>
          </a:xfrm>
          <a:prstGeom prst="rect">
            <a:avLst/>
          </a:prstGeom>
          <a:solidFill>
            <a:srgbClr val="00B0F0"/>
          </a:solidFill>
          <a:ln w="19050" cap="flat" cmpd="sng" algn="ctr">
            <a:solidFill>
              <a:srgbClr val="00B0F0"/>
            </a:solidFill>
            <a:prstDash val="solid"/>
            <a:miter lim="800000"/>
          </a:ln>
          <a:effectLst/>
        </p:spPr>
        <p:txBody>
          <a:bodyPr rtlCol="0" anchor="ctr"/>
          <a:lstStyle/>
          <a:p>
            <a:pPr algn="ctr" defTabSz="913873"/>
            <a:r>
              <a:rPr lang="en-US" sz="1198" kern="0" dirty="0">
                <a:solidFill>
                  <a:prstClr val="white"/>
                </a:solidFill>
                <a:cs typeface="Arial" panose="020B0604020202020204" pitchFamily="34" charset="0"/>
              </a:rPr>
              <a:t>Solution Portal</a:t>
            </a:r>
          </a:p>
        </p:txBody>
      </p:sp>
      <p:sp>
        <p:nvSpPr>
          <p:cNvPr id="111" name="Rectangle 110"/>
          <p:cNvSpPr/>
          <p:nvPr/>
        </p:nvSpPr>
        <p:spPr>
          <a:xfrm>
            <a:off x="5318154" y="2751176"/>
            <a:ext cx="1890342" cy="394686"/>
          </a:xfrm>
          <a:prstGeom prst="rect">
            <a:avLst/>
          </a:prstGeom>
          <a:solidFill>
            <a:srgbClr val="00B0F0"/>
          </a:solidFill>
          <a:ln w="19050" cap="flat" cmpd="sng" algn="ctr">
            <a:solidFill>
              <a:srgbClr val="00B0F0"/>
            </a:solidFill>
            <a:prstDash val="solid"/>
            <a:miter lim="800000"/>
          </a:ln>
          <a:effectLst/>
        </p:spPr>
        <p:txBody>
          <a:bodyPr rtlCol="0" anchor="ctr"/>
          <a:lstStyle/>
          <a:p>
            <a:pPr algn="ctr" defTabSz="913873"/>
            <a:r>
              <a:rPr lang="en-US" sz="1198" kern="0" dirty="0">
                <a:solidFill>
                  <a:prstClr val="white"/>
                </a:solidFill>
                <a:cs typeface="Arial" panose="020B0604020202020204" pitchFamily="34" charset="0"/>
              </a:rPr>
              <a:t>Provisioning API</a:t>
            </a:r>
          </a:p>
        </p:txBody>
      </p:sp>
      <p:sp>
        <p:nvSpPr>
          <p:cNvPr id="112" name="Rectangle 111"/>
          <p:cNvSpPr/>
          <p:nvPr/>
        </p:nvSpPr>
        <p:spPr>
          <a:xfrm>
            <a:off x="5318156" y="3394623"/>
            <a:ext cx="3074380" cy="296014"/>
          </a:xfrm>
          <a:prstGeom prst="rect">
            <a:avLst/>
          </a:prstGeom>
          <a:solidFill>
            <a:srgbClr val="00B0F0"/>
          </a:solidFill>
          <a:ln w="19050" cap="flat" cmpd="sng" algn="ctr">
            <a:solidFill>
              <a:srgbClr val="00B0F0"/>
            </a:solidFill>
            <a:prstDash val="solid"/>
            <a:miter lim="800000"/>
          </a:ln>
          <a:effectLst/>
        </p:spPr>
        <p:txBody>
          <a:bodyPr rtlCol="0" anchor="ctr"/>
          <a:lstStyle/>
          <a:p>
            <a:pPr algn="ctr" defTabSz="913873"/>
            <a:r>
              <a:rPr lang="en-US" sz="1198" kern="0" dirty="0">
                <a:solidFill>
                  <a:prstClr val="white"/>
                </a:solidFill>
                <a:cs typeface="Arial" panose="020B0604020202020204" pitchFamily="34" charset="0"/>
              </a:rPr>
              <a:t>Identity &amp; Registry Stores</a:t>
            </a:r>
          </a:p>
        </p:txBody>
      </p:sp>
      <p:cxnSp>
        <p:nvCxnSpPr>
          <p:cNvPr id="113" name="Straight Arrow Connector 112"/>
          <p:cNvCxnSpPr>
            <a:stCxn id="111" idx="2"/>
          </p:cNvCxnSpPr>
          <p:nvPr/>
        </p:nvCxnSpPr>
        <p:spPr>
          <a:xfrm flipH="1">
            <a:off x="6263305" y="3145863"/>
            <a:ext cx="20" cy="248759"/>
          </a:xfrm>
          <a:prstGeom prst="straightConnector1">
            <a:avLst/>
          </a:prstGeom>
          <a:noFill/>
          <a:ln w="19050" cap="flat" cmpd="sng" algn="ctr">
            <a:solidFill>
              <a:srgbClr val="00B0F0"/>
            </a:solidFill>
            <a:prstDash val="solid"/>
            <a:miter lim="800000"/>
            <a:tailEnd type="triangle"/>
          </a:ln>
          <a:effectLst/>
        </p:spPr>
      </p:cxnSp>
      <p:cxnSp>
        <p:nvCxnSpPr>
          <p:cNvPr id="114" name="Straight Arrow Connector 113"/>
          <p:cNvCxnSpPr/>
          <p:nvPr/>
        </p:nvCxnSpPr>
        <p:spPr>
          <a:xfrm flipH="1">
            <a:off x="7878403" y="3131093"/>
            <a:ext cx="20" cy="248759"/>
          </a:xfrm>
          <a:prstGeom prst="straightConnector1">
            <a:avLst/>
          </a:prstGeom>
          <a:noFill/>
          <a:ln w="19050" cap="flat" cmpd="sng" algn="ctr">
            <a:solidFill>
              <a:srgbClr val="00B0F0"/>
            </a:solidFill>
            <a:prstDash val="solid"/>
            <a:miter lim="800000"/>
            <a:tailEnd type="triangle"/>
          </a:ln>
          <a:effectLst/>
        </p:spPr>
      </p:cxnSp>
      <p:cxnSp>
        <p:nvCxnSpPr>
          <p:cNvPr id="115" name="Straight Arrow Connector 114"/>
          <p:cNvCxnSpPr/>
          <p:nvPr/>
        </p:nvCxnSpPr>
        <p:spPr>
          <a:xfrm flipH="1">
            <a:off x="8823574" y="3145863"/>
            <a:ext cx="20" cy="248759"/>
          </a:xfrm>
          <a:prstGeom prst="straightConnector1">
            <a:avLst/>
          </a:prstGeom>
          <a:noFill/>
          <a:ln w="19050" cap="flat" cmpd="sng" algn="ctr">
            <a:solidFill>
              <a:srgbClr val="00B0F0"/>
            </a:solidFill>
            <a:prstDash val="solid"/>
            <a:miter lim="800000"/>
            <a:tailEnd type="triangle"/>
          </a:ln>
          <a:effectLst/>
        </p:spPr>
      </p:cxnSp>
      <p:sp>
        <p:nvSpPr>
          <p:cNvPr id="128" name="Oval 127"/>
          <p:cNvSpPr/>
          <p:nvPr/>
        </p:nvSpPr>
        <p:spPr>
          <a:xfrm>
            <a:off x="8719722" y="3801429"/>
            <a:ext cx="207709" cy="203346"/>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913873">
              <a:defRPr/>
            </a:pPr>
            <a:endParaRPr lang="en-US" sz="1097" kern="0">
              <a:solidFill>
                <a:prstClr val="white"/>
              </a:solidFill>
              <a:cs typeface="Arial" panose="020B0604020202020204" pitchFamily="34" charset="0"/>
            </a:endParaRPr>
          </a:p>
        </p:txBody>
      </p:sp>
      <p:sp>
        <p:nvSpPr>
          <p:cNvPr id="129" name="Rectangle 128"/>
          <p:cNvSpPr/>
          <p:nvPr/>
        </p:nvSpPr>
        <p:spPr>
          <a:xfrm>
            <a:off x="5318155" y="4213716"/>
            <a:ext cx="4009163" cy="372593"/>
          </a:xfrm>
          <a:prstGeom prst="rect">
            <a:avLst/>
          </a:prstGeom>
          <a:solidFill>
            <a:srgbClr val="00B0F0"/>
          </a:solidFill>
          <a:ln w="19050" cap="flat" cmpd="sng" algn="ctr">
            <a:solidFill>
              <a:srgbClr val="00B0F0"/>
            </a:solidFill>
            <a:prstDash val="solid"/>
            <a:miter lim="800000"/>
          </a:ln>
          <a:effectLst/>
        </p:spPr>
        <p:txBody>
          <a:bodyPr rtlCol="0" anchor="ctr"/>
          <a:lstStyle/>
          <a:p>
            <a:pPr algn="ctr" defTabSz="913873">
              <a:defRPr/>
            </a:pPr>
            <a:r>
              <a:rPr lang="en-US" sz="1198" kern="0" dirty="0">
                <a:solidFill>
                  <a:prstClr val="white"/>
                </a:solidFill>
                <a:cs typeface="Arial" panose="020B0604020202020204" pitchFamily="34" charset="0"/>
              </a:rPr>
              <a:t>Stream Event Processor</a:t>
            </a:r>
          </a:p>
        </p:txBody>
      </p:sp>
      <p:sp>
        <p:nvSpPr>
          <p:cNvPr id="132" name="Rectangle 131"/>
          <p:cNvSpPr/>
          <p:nvPr/>
        </p:nvSpPr>
        <p:spPr>
          <a:xfrm>
            <a:off x="8421714" y="4735247"/>
            <a:ext cx="858388" cy="776844"/>
          </a:xfrm>
          <a:prstGeom prst="rect">
            <a:avLst/>
          </a:prstGeom>
          <a:solidFill>
            <a:srgbClr val="00B0F0"/>
          </a:solidFill>
          <a:ln w="19050" cap="flat" cmpd="sng" algn="ctr">
            <a:solidFill>
              <a:srgbClr val="00B0F0"/>
            </a:solidFill>
            <a:prstDash val="solid"/>
            <a:miter lim="800000"/>
          </a:ln>
          <a:effectLst/>
        </p:spPr>
        <p:txBody>
          <a:bodyPr rtlCol="0" anchor="ctr"/>
          <a:lstStyle/>
          <a:p>
            <a:pPr algn="ctr" defTabSz="913873"/>
            <a:r>
              <a:rPr lang="en-US" sz="1198" kern="0" dirty="0">
                <a:solidFill>
                  <a:prstClr val="white"/>
                </a:solidFill>
                <a:cs typeface="Arial" panose="020B0604020202020204" pitchFamily="34" charset="0"/>
              </a:rPr>
              <a:t>Analytics/ Machine Learning</a:t>
            </a:r>
          </a:p>
        </p:txBody>
      </p:sp>
      <p:cxnSp>
        <p:nvCxnSpPr>
          <p:cNvPr id="135" name="Straight Arrow Connector 134"/>
          <p:cNvCxnSpPr>
            <a:endCxn id="129" idx="1"/>
          </p:cNvCxnSpPr>
          <p:nvPr/>
        </p:nvCxnSpPr>
        <p:spPr>
          <a:xfrm>
            <a:off x="4757611" y="4400012"/>
            <a:ext cx="560544" cy="0"/>
          </a:xfrm>
          <a:prstGeom prst="straightConnector1">
            <a:avLst/>
          </a:prstGeom>
          <a:noFill/>
          <a:ln w="19050" cap="flat" cmpd="sng" algn="ctr">
            <a:solidFill>
              <a:srgbClr val="00B0F0"/>
            </a:solidFill>
            <a:prstDash val="solid"/>
            <a:miter lim="800000"/>
            <a:tailEnd type="triangle"/>
          </a:ln>
          <a:effectLst/>
        </p:spPr>
      </p:cxnSp>
      <p:sp>
        <p:nvSpPr>
          <p:cNvPr id="140" name="Rectangle 139"/>
          <p:cNvSpPr/>
          <p:nvPr/>
        </p:nvSpPr>
        <p:spPr>
          <a:xfrm>
            <a:off x="10092310" y="2565279"/>
            <a:ext cx="1450409" cy="3102459"/>
          </a:xfrm>
          <a:prstGeom prst="rect">
            <a:avLst/>
          </a:prstGeom>
          <a:solidFill>
            <a:srgbClr val="00B0F0"/>
          </a:solidFill>
          <a:ln w="12700" cap="flat" cmpd="sng" algn="ctr">
            <a:solidFill>
              <a:srgbClr val="00B0F0"/>
            </a:solidFill>
            <a:prstDash val="solid"/>
            <a:miter lim="800000"/>
          </a:ln>
          <a:effectLst/>
        </p:spPr>
        <p:txBody>
          <a:bodyPr rtlCol="0" anchor="ctr"/>
          <a:lstStyle/>
          <a:p>
            <a:pPr algn="ctr" defTabSz="913873">
              <a:defRPr/>
            </a:pPr>
            <a:r>
              <a:rPr lang="en-US" sz="1198" kern="0" dirty="0">
                <a:solidFill>
                  <a:prstClr val="white"/>
                </a:solidFill>
                <a:cs typeface="Arial" panose="020B0604020202020204" pitchFamily="34" charset="0"/>
              </a:rPr>
              <a:t>Data Visualization &amp; Presentation</a:t>
            </a:r>
          </a:p>
        </p:txBody>
      </p:sp>
      <p:sp>
        <p:nvSpPr>
          <p:cNvPr id="149" name="L-Shape 148"/>
          <p:cNvSpPr/>
          <p:nvPr/>
        </p:nvSpPr>
        <p:spPr>
          <a:xfrm flipH="1">
            <a:off x="5318156" y="3394622"/>
            <a:ext cx="4009163" cy="610152"/>
          </a:xfrm>
          <a:prstGeom prst="corner">
            <a:avLst>
              <a:gd name="adj1" fmla="val 46089"/>
              <a:gd name="adj2" fmla="val 146666"/>
            </a:avLst>
          </a:prstGeom>
          <a:solidFill>
            <a:srgbClr val="00B0F0"/>
          </a:solidFill>
          <a:ln w="19050" cap="flat" cmpd="sng" algn="ctr">
            <a:solidFill>
              <a:srgbClr val="00B0F0"/>
            </a:solidFill>
            <a:prstDash val="solid"/>
            <a:miter lim="800000"/>
          </a:ln>
          <a:effectLst/>
        </p:spPr>
        <p:txBody>
          <a:bodyPr rtlCol="0" anchor="ctr"/>
          <a:lstStyle/>
          <a:p>
            <a:pPr algn="ctr" defTabSz="913873"/>
            <a:r>
              <a:rPr lang="en-US" sz="1198" kern="0" dirty="0">
                <a:solidFill>
                  <a:prstClr val="white"/>
                </a:solidFill>
                <a:cs typeface="Arial" panose="020B0604020202020204" pitchFamily="34" charset="0"/>
              </a:rPr>
              <a:t>Device State Store</a:t>
            </a:r>
          </a:p>
        </p:txBody>
      </p:sp>
      <p:sp>
        <p:nvSpPr>
          <p:cNvPr id="121" name="Rectangle 120"/>
          <p:cNvSpPr/>
          <p:nvPr/>
        </p:nvSpPr>
        <p:spPr>
          <a:xfrm>
            <a:off x="2579205" y="4634283"/>
            <a:ext cx="1122748" cy="910062"/>
          </a:xfrm>
          <a:prstGeom prst="rect">
            <a:avLst/>
          </a:prstGeom>
          <a:noFill/>
          <a:ln w="12700" cap="flat" cmpd="sng" algn="ctr">
            <a:solidFill>
              <a:sysClr val="windowText" lastClr="000000"/>
            </a:solidFill>
            <a:prstDash val="dash"/>
            <a:miter lim="800000"/>
          </a:ln>
          <a:effectLst/>
        </p:spPr>
        <p:txBody>
          <a:bodyPr rtlCol="0" anchor="ctr"/>
          <a:lstStyle/>
          <a:p>
            <a:pPr algn="ctr" defTabSz="913873">
              <a:defRPr/>
            </a:pPr>
            <a:r>
              <a:rPr lang="en-US" sz="1198" kern="0" dirty="0">
                <a:solidFill>
                  <a:prstClr val="black"/>
                </a:solidFill>
                <a:cs typeface="Arial" panose="020B0604020202020204" pitchFamily="34" charset="0"/>
              </a:rPr>
              <a:t>Gateway</a:t>
            </a:r>
            <a:br>
              <a:rPr lang="en-US" sz="1198" kern="0" dirty="0">
                <a:solidFill>
                  <a:prstClr val="black"/>
                </a:solidFill>
                <a:cs typeface="Arial" panose="020B0604020202020204" pitchFamily="34" charset="0"/>
              </a:rPr>
            </a:br>
            <a:endParaRPr lang="en-US" sz="1198" kern="0" dirty="0">
              <a:solidFill>
                <a:prstClr val="black"/>
              </a:solidFill>
              <a:cs typeface="Arial" panose="020B0604020202020204" pitchFamily="34" charset="0"/>
            </a:endParaRPr>
          </a:p>
        </p:txBody>
      </p:sp>
      <p:sp>
        <p:nvSpPr>
          <p:cNvPr id="76" name="Title 1"/>
          <p:cNvSpPr>
            <a:spLocks noGrp="1"/>
          </p:cNvSpPr>
          <p:nvPr>
            <p:ph type="title"/>
          </p:nvPr>
        </p:nvSpPr>
        <p:spPr>
          <a:xfrm>
            <a:off x="468816" y="258570"/>
            <a:ext cx="11187113" cy="674701"/>
          </a:xfrm>
        </p:spPr>
        <p:txBody>
          <a:bodyPr>
            <a:normAutofit fontScale="90000"/>
          </a:bodyPr>
          <a:lstStyle/>
          <a:p>
            <a:r>
              <a:rPr lang="en-US" sz="3999" dirty="0">
                <a:solidFill>
                  <a:schemeClr val="accent6"/>
                </a:solidFill>
              </a:rPr>
              <a:t>Azure </a:t>
            </a:r>
            <a:r>
              <a:rPr lang="en-US" sz="3999" dirty="0" err="1">
                <a:solidFill>
                  <a:schemeClr val="accent6"/>
                </a:solidFill>
              </a:rPr>
              <a:t>IoT</a:t>
            </a:r>
            <a:r>
              <a:rPr lang="en-US" sz="3999" dirty="0">
                <a:solidFill>
                  <a:schemeClr val="accent6"/>
                </a:solidFill>
              </a:rPr>
              <a:t> Services Reference Architecture</a:t>
            </a:r>
          </a:p>
        </p:txBody>
      </p:sp>
      <p:sp>
        <p:nvSpPr>
          <p:cNvPr id="39" name="Rectangle 38"/>
          <p:cNvSpPr/>
          <p:nvPr/>
        </p:nvSpPr>
        <p:spPr>
          <a:xfrm>
            <a:off x="5318155" y="4735247"/>
            <a:ext cx="858388" cy="776844"/>
          </a:xfrm>
          <a:prstGeom prst="rect">
            <a:avLst/>
          </a:prstGeom>
          <a:solidFill>
            <a:srgbClr val="00B0F0"/>
          </a:solidFill>
          <a:ln w="19050" cap="flat" cmpd="sng" algn="ctr">
            <a:solidFill>
              <a:srgbClr val="00B0F0"/>
            </a:solidFill>
            <a:prstDash val="solid"/>
            <a:miter lim="800000"/>
          </a:ln>
          <a:effectLst/>
        </p:spPr>
        <p:txBody>
          <a:bodyPr rtlCol="0" anchor="ctr"/>
          <a:lstStyle/>
          <a:p>
            <a:pPr algn="ctr" defTabSz="913873"/>
            <a:r>
              <a:rPr lang="en-US" sz="1198" kern="0" dirty="0">
                <a:solidFill>
                  <a:prstClr val="white"/>
                </a:solidFill>
                <a:cs typeface="Arial" panose="020B0604020202020204" pitchFamily="34" charset="0"/>
              </a:rPr>
              <a:t>Storage</a:t>
            </a:r>
          </a:p>
        </p:txBody>
      </p:sp>
      <p:cxnSp>
        <p:nvCxnSpPr>
          <p:cNvPr id="7" name="Straight Arrow Connector 6"/>
          <p:cNvCxnSpPr/>
          <p:nvPr/>
        </p:nvCxnSpPr>
        <p:spPr>
          <a:xfrm flipH="1">
            <a:off x="6176542" y="5172226"/>
            <a:ext cx="2245171" cy="0"/>
          </a:xfrm>
          <a:prstGeom prst="straightConnector1">
            <a:avLst/>
          </a:prstGeom>
          <a:ln w="1905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8823573" y="4004775"/>
            <a:ext cx="0" cy="302542"/>
          </a:xfrm>
          <a:prstGeom prst="straightConnector1">
            <a:avLst/>
          </a:prstGeom>
          <a:noFill/>
          <a:ln w="19050" cap="flat" cmpd="sng" algn="ctr">
            <a:solidFill>
              <a:srgbClr val="00B0F0"/>
            </a:solidFill>
            <a:prstDash val="solid"/>
            <a:miter lim="800000"/>
            <a:tailEnd type="triangle"/>
          </a:ln>
          <a:effectLst/>
        </p:spPr>
      </p:cxnSp>
      <p:sp>
        <p:nvSpPr>
          <p:cNvPr id="57" name="TextBox 56"/>
          <p:cNvSpPr txBox="1"/>
          <p:nvPr/>
        </p:nvSpPr>
        <p:spPr>
          <a:xfrm>
            <a:off x="783197" y="2814627"/>
            <a:ext cx="1372963" cy="967070"/>
          </a:xfrm>
          <a:prstGeom prst="round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198" dirty="0"/>
              <a:t>IP capable devices</a:t>
            </a:r>
            <a:br>
              <a:rPr lang="en-US" sz="1198" dirty="0"/>
            </a:br>
            <a:endParaRPr lang="en-US" sz="1097" dirty="0"/>
          </a:p>
        </p:txBody>
      </p:sp>
      <p:sp>
        <p:nvSpPr>
          <p:cNvPr id="59" name="TextBox 58"/>
          <p:cNvSpPr txBox="1"/>
          <p:nvPr/>
        </p:nvSpPr>
        <p:spPr>
          <a:xfrm>
            <a:off x="783197" y="4115032"/>
            <a:ext cx="1372963" cy="888522"/>
          </a:xfrm>
          <a:prstGeom prst="round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198" dirty="0"/>
              <a:t>Existing IoT devices</a:t>
            </a:r>
          </a:p>
          <a:p>
            <a:endParaRPr lang="en-US" sz="1198" dirty="0"/>
          </a:p>
        </p:txBody>
      </p:sp>
      <p:sp>
        <p:nvSpPr>
          <p:cNvPr id="60" name="TextBox 59"/>
          <p:cNvSpPr txBox="1"/>
          <p:nvPr/>
        </p:nvSpPr>
        <p:spPr>
          <a:xfrm>
            <a:off x="783197" y="5336887"/>
            <a:ext cx="1372963" cy="797462"/>
          </a:xfrm>
          <a:prstGeom prst="round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198" dirty="0"/>
              <a:t>Low power devices </a:t>
            </a:r>
          </a:p>
        </p:txBody>
      </p:sp>
      <p:sp>
        <p:nvSpPr>
          <p:cNvPr id="61" name="Rectangle 60"/>
          <p:cNvSpPr/>
          <p:nvPr/>
        </p:nvSpPr>
        <p:spPr bwMode="auto">
          <a:xfrm>
            <a:off x="10098107" y="1402364"/>
            <a:ext cx="1449973" cy="732723"/>
          </a:xfrm>
          <a:prstGeom prst="rect">
            <a:avLst/>
          </a:prstGeom>
          <a:solidFill>
            <a:schemeClr val="accent5"/>
          </a:solidFill>
          <a:ln w="10795" cap="flat" cmpd="sng" algn="ctr">
            <a:noFill/>
            <a:prstDash val="solid"/>
            <a:headEnd type="none" w="med" len="med"/>
            <a:tailEnd type="none" w="med" len="med"/>
          </a:ln>
          <a:effectLst/>
        </p:spPr>
        <p:txBody>
          <a:bodyPr vert="horz" wrap="square" lIns="182776" tIns="182776" rIns="182776" bIns="146220" numCol="1" rtlCol="0" anchor="ctr" anchorCtr="0" compatLnSpc="1">
            <a:prstTxWarp prst="textNoShape">
              <a:avLst/>
            </a:prstTxWarp>
            <a:noAutofit/>
          </a:bodyPr>
          <a:lstStyle/>
          <a:p>
            <a:pPr algn="ctr" defTabSz="931756" fontAlgn="base">
              <a:lnSpc>
                <a:spcPct val="90000"/>
              </a:lnSpc>
              <a:spcBef>
                <a:spcPct val="0"/>
              </a:spcBef>
              <a:spcAft>
                <a:spcPct val="0"/>
              </a:spcAft>
            </a:pPr>
            <a:r>
              <a:rPr lang="en-US" sz="1398" kern="0" dirty="0">
                <a:solidFill>
                  <a:prstClr val="white"/>
                </a:solidFill>
              </a:rPr>
              <a:t>Presentation </a:t>
            </a:r>
            <a:endParaRPr lang="en-US" sz="1122" kern="0" dirty="0">
              <a:solidFill>
                <a:prstClr val="white"/>
              </a:solidFill>
            </a:endParaRPr>
          </a:p>
        </p:txBody>
      </p:sp>
      <p:sp>
        <p:nvSpPr>
          <p:cNvPr id="62" name="Rectangle 61"/>
          <p:cNvSpPr/>
          <p:nvPr/>
        </p:nvSpPr>
        <p:spPr bwMode="auto">
          <a:xfrm>
            <a:off x="4133204" y="1402360"/>
            <a:ext cx="5449117" cy="732724"/>
          </a:xfrm>
          <a:prstGeom prst="rect">
            <a:avLst/>
          </a:prstGeom>
          <a:solidFill>
            <a:schemeClr val="accent5"/>
          </a:solidFill>
          <a:ln w="10795" cap="flat" cmpd="sng" algn="ctr">
            <a:noFill/>
            <a:prstDash val="solid"/>
            <a:headEnd type="none" w="med" len="med"/>
            <a:tailEnd type="none" w="med" len="med"/>
          </a:ln>
          <a:effectLst/>
        </p:spPr>
        <p:txBody>
          <a:bodyPr vert="horz" wrap="square" lIns="182776" tIns="182776" rIns="182776" bIns="146220" numCol="1" rtlCol="0" anchor="ctr" anchorCtr="0" compatLnSpc="1">
            <a:prstTxWarp prst="textNoShape">
              <a:avLst/>
            </a:prstTxWarp>
            <a:noAutofit/>
          </a:bodyPr>
          <a:lstStyle/>
          <a:p>
            <a:pPr algn="ctr" defTabSz="931756" fontAlgn="base">
              <a:lnSpc>
                <a:spcPct val="90000"/>
              </a:lnSpc>
              <a:spcBef>
                <a:spcPct val="0"/>
              </a:spcBef>
              <a:spcAft>
                <a:spcPct val="0"/>
              </a:spcAft>
              <a:defRPr/>
            </a:pPr>
            <a:r>
              <a:rPr lang="en-US" sz="1398" kern="0" dirty="0">
                <a:solidFill>
                  <a:prstClr val="white"/>
                </a:solidFill>
              </a:rPr>
              <a:t>Device and Event Processing</a:t>
            </a:r>
          </a:p>
        </p:txBody>
      </p:sp>
      <p:sp>
        <p:nvSpPr>
          <p:cNvPr id="64" name="Rectangle 63"/>
          <p:cNvSpPr/>
          <p:nvPr/>
        </p:nvSpPr>
        <p:spPr bwMode="auto">
          <a:xfrm>
            <a:off x="2420952" y="1402364"/>
            <a:ext cx="1449973" cy="732723"/>
          </a:xfrm>
          <a:prstGeom prst="rect">
            <a:avLst/>
          </a:prstGeom>
          <a:solidFill>
            <a:schemeClr val="accent5"/>
          </a:solidFill>
          <a:ln w="10795" cap="flat" cmpd="sng" algn="ctr">
            <a:noFill/>
            <a:prstDash val="solid"/>
            <a:headEnd type="none" w="med" len="med"/>
            <a:tailEnd type="none" w="med" len="med"/>
          </a:ln>
          <a:effectLst/>
        </p:spPr>
        <p:txBody>
          <a:bodyPr vert="horz" wrap="square" lIns="182776" tIns="182776" rIns="182776" bIns="146220" numCol="1" rtlCol="0" anchor="ctr" anchorCtr="0" compatLnSpc="1">
            <a:prstTxWarp prst="textNoShape">
              <a:avLst/>
            </a:prstTxWarp>
            <a:noAutofit/>
          </a:bodyPr>
          <a:lstStyle/>
          <a:p>
            <a:pPr algn="ctr" defTabSz="931756" fontAlgn="base">
              <a:lnSpc>
                <a:spcPct val="90000"/>
              </a:lnSpc>
              <a:spcBef>
                <a:spcPct val="0"/>
              </a:spcBef>
              <a:spcAft>
                <a:spcPct val="0"/>
              </a:spcAft>
              <a:defRPr/>
            </a:pPr>
            <a:r>
              <a:rPr lang="en-US" sz="1398" kern="0" dirty="0">
                <a:solidFill>
                  <a:srgbClr val="FFFFFF"/>
                </a:solidFill>
              </a:rPr>
              <a:t>Data Transport</a:t>
            </a:r>
          </a:p>
        </p:txBody>
      </p:sp>
      <p:sp>
        <p:nvSpPr>
          <p:cNvPr id="65" name="Rectangle 64"/>
          <p:cNvSpPr/>
          <p:nvPr/>
        </p:nvSpPr>
        <p:spPr bwMode="auto">
          <a:xfrm>
            <a:off x="750054" y="1402364"/>
            <a:ext cx="1449973" cy="732723"/>
          </a:xfrm>
          <a:prstGeom prst="rect">
            <a:avLst/>
          </a:prstGeom>
          <a:solidFill>
            <a:schemeClr val="accent5"/>
          </a:solidFill>
          <a:ln w="10795" cap="flat" cmpd="sng" algn="ctr">
            <a:noFill/>
            <a:prstDash val="solid"/>
            <a:headEnd type="none" w="med" len="med"/>
            <a:tailEnd type="none" w="med" len="med"/>
          </a:ln>
          <a:effectLst/>
        </p:spPr>
        <p:txBody>
          <a:bodyPr vert="horz" wrap="square" lIns="182776" tIns="182776" rIns="182776" bIns="146220" numCol="1" rtlCol="0" anchor="ctr" anchorCtr="0" compatLnSpc="1">
            <a:prstTxWarp prst="textNoShape">
              <a:avLst/>
            </a:prstTxWarp>
            <a:noAutofit/>
          </a:bodyPr>
          <a:lstStyle/>
          <a:p>
            <a:pPr algn="ctr" defTabSz="931756" fontAlgn="base">
              <a:spcBef>
                <a:spcPct val="0"/>
              </a:spcBef>
              <a:spcAft>
                <a:spcPct val="0"/>
              </a:spcAft>
              <a:defRPr/>
            </a:pPr>
            <a:r>
              <a:rPr lang="en-US" sz="1398" kern="0" dirty="0">
                <a:solidFill>
                  <a:srgbClr val="FFFFFF"/>
                </a:solidFill>
              </a:rPr>
              <a:t>Devices and Data Sources</a:t>
            </a:r>
          </a:p>
        </p:txBody>
      </p:sp>
      <p:cxnSp>
        <p:nvCxnSpPr>
          <p:cNvPr id="25" name="Elbow Connector 24"/>
          <p:cNvCxnSpPr>
            <a:stCxn id="129" idx="2"/>
          </p:cNvCxnSpPr>
          <p:nvPr/>
        </p:nvCxnSpPr>
        <p:spPr>
          <a:xfrm rot="5400000">
            <a:off x="6546262" y="4216588"/>
            <a:ext cx="406758" cy="1146195"/>
          </a:xfrm>
          <a:prstGeom prst="bentConnector2">
            <a:avLst/>
          </a:prstGeom>
          <a:ln w="19050">
            <a:solidFill>
              <a:srgbClr val="4071CA"/>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9626605" y="4512245"/>
            <a:ext cx="448169" cy="1516"/>
          </a:xfrm>
          <a:prstGeom prst="straightConnector1">
            <a:avLst/>
          </a:prstGeom>
          <a:noFill/>
          <a:ln w="38100" cap="flat" cmpd="sng" algn="ctr">
            <a:solidFill>
              <a:srgbClr val="00B0F0"/>
            </a:solidFill>
            <a:prstDash val="solid"/>
            <a:miter lim="800000"/>
            <a:headEnd type="triangle" w="med" len="med"/>
            <a:tailEnd type="triangle" w="med" len="med"/>
          </a:ln>
          <a:effectLst/>
        </p:spPr>
      </p:cxnSp>
      <p:cxnSp>
        <p:nvCxnSpPr>
          <p:cNvPr id="58" name="Elbow Connector 57"/>
          <p:cNvCxnSpPr/>
          <p:nvPr/>
        </p:nvCxnSpPr>
        <p:spPr>
          <a:xfrm>
            <a:off x="7322738" y="4586306"/>
            <a:ext cx="1098976" cy="406759"/>
          </a:xfrm>
          <a:prstGeom prst="bentConnector3">
            <a:avLst>
              <a:gd name="adj1" fmla="val 540"/>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4306802" y="2699826"/>
            <a:ext cx="768598" cy="2877940"/>
          </a:xfrm>
          <a:prstGeom prst="rect">
            <a:avLst/>
          </a:prstGeom>
          <a:solidFill>
            <a:srgbClr val="00B0F0"/>
          </a:solidFill>
          <a:ln w="6350" cap="flat" cmpd="sng" algn="ctr">
            <a:solidFill>
              <a:srgbClr val="00B0F0"/>
            </a:solidFill>
            <a:prstDash val="solid"/>
            <a:miter lim="800000"/>
          </a:ln>
          <a:effectLst/>
        </p:spPr>
        <p:txBody>
          <a:bodyPr rtlCol="0" anchor="ctr"/>
          <a:lstStyle/>
          <a:p>
            <a:pPr algn="ctr" defTabSz="913873">
              <a:defRPr/>
            </a:pPr>
            <a:r>
              <a:rPr lang="en-US" sz="1198" kern="0" dirty="0">
                <a:solidFill>
                  <a:prstClr val="white"/>
                </a:solidFill>
                <a:cs typeface="Arial" panose="020B0604020202020204" pitchFamily="34" charset="0"/>
              </a:rPr>
              <a:t>Azure </a:t>
            </a:r>
            <a:r>
              <a:rPr lang="en-US" sz="1198" kern="0" dirty="0" err="1">
                <a:solidFill>
                  <a:prstClr val="white"/>
                </a:solidFill>
                <a:cs typeface="Arial" panose="020B0604020202020204" pitchFamily="34" charset="0"/>
              </a:rPr>
              <a:t>IoT</a:t>
            </a:r>
            <a:r>
              <a:rPr lang="en-US" sz="1198" kern="0" dirty="0">
                <a:solidFill>
                  <a:prstClr val="white"/>
                </a:solidFill>
                <a:cs typeface="Arial" panose="020B0604020202020204" pitchFamily="34" charset="0"/>
              </a:rPr>
              <a:t> Hub</a:t>
            </a:r>
          </a:p>
        </p:txBody>
      </p:sp>
      <p:sp>
        <p:nvSpPr>
          <p:cNvPr id="48" name="Rectangle 47"/>
          <p:cNvSpPr/>
          <p:nvPr/>
        </p:nvSpPr>
        <p:spPr>
          <a:xfrm>
            <a:off x="1086271" y="3468264"/>
            <a:ext cx="620608" cy="269889"/>
          </a:xfrm>
          <a:prstGeom prst="rect">
            <a:avLst/>
          </a:prstGeom>
          <a:solidFill>
            <a:srgbClr val="00B0F0"/>
          </a:solidFill>
          <a:ln w="6350" cap="flat" cmpd="sng" algn="ctr">
            <a:solidFill>
              <a:srgbClr val="00B0F0"/>
            </a:solidFill>
            <a:prstDash val="solid"/>
            <a:miter lim="800000"/>
          </a:ln>
          <a:effectLst/>
        </p:spPr>
        <p:txBody>
          <a:bodyPr rtlCol="0" anchor="ctr"/>
          <a:lstStyle/>
          <a:p>
            <a:pPr algn="ctr" defTabSz="913873"/>
            <a:r>
              <a:rPr lang="en-US" sz="1198" kern="0" dirty="0">
                <a:solidFill>
                  <a:prstClr val="white"/>
                </a:solidFill>
                <a:cs typeface="Arial" panose="020B0604020202020204" pitchFamily="34" charset="0"/>
              </a:rPr>
              <a:t>Agent</a:t>
            </a:r>
          </a:p>
        </p:txBody>
      </p:sp>
      <p:sp>
        <p:nvSpPr>
          <p:cNvPr id="66" name="Rectangle 65"/>
          <p:cNvSpPr/>
          <p:nvPr/>
        </p:nvSpPr>
        <p:spPr>
          <a:xfrm>
            <a:off x="2830274" y="5262012"/>
            <a:ext cx="620608" cy="269889"/>
          </a:xfrm>
          <a:prstGeom prst="rect">
            <a:avLst/>
          </a:prstGeom>
          <a:solidFill>
            <a:srgbClr val="00B0F0"/>
          </a:solidFill>
          <a:ln w="6350" cap="flat" cmpd="sng" algn="ctr">
            <a:solidFill>
              <a:srgbClr val="4472C4"/>
            </a:solidFill>
            <a:prstDash val="solid"/>
            <a:miter lim="800000"/>
          </a:ln>
          <a:effectLst/>
        </p:spPr>
        <p:txBody>
          <a:bodyPr rtlCol="0" anchor="ctr"/>
          <a:lstStyle/>
          <a:p>
            <a:pPr algn="ctr" defTabSz="913873"/>
            <a:r>
              <a:rPr lang="en-US" sz="1198" kern="0" dirty="0">
                <a:solidFill>
                  <a:prstClr val="white"/>
                </a:solidFill>
                <a:cs typeface="Arial" panose="020B0604020202020204" pitchFamily="34" charset="0"/>
              </a:rPr>
              <a:t>Agent</a:t>
            </a:r>
          </a:p>
        </p:txBody>
      </p:sp>
      <p:cxnSp>
        <p:nvCxnSpPr>
          <p:cNvPr id="14" name="Elbow Connector 13"/>
          <p:cNvCxnSpPr>
            <a:stCxn id="60" idx="3"/>
            <a:endCxn id="121" idx="1"/>
          </p:cNvCxnSpPr>
          <p:nvPr/>
        </p:nvCxnSpPr>
        <p:spPr>
          <a:xfrm flipV="1">
            <a:off x="2156160" y="5089315"/>
            <a:ext cx="423043" cy="646304"/>
          </a:xfrm>
          <a:prstGeom prst="bentConnector3">
            <a:avLst>
              <a:gd name="adj1" fmla="val 50000"/>
            </a:avLst>
          </a:prstGeom>
          <a:ln w="381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a:stCxn id="59" idx="3"/>
            <a:endCxn id="121" idx="1"/>
          </p:cNvCxnSpPr>
          <p:nvPr/>
        </p:nvCxnSpPr>
        <p:spPr>
          <a:xfrm>
            <a:off x="2156160" y="4559293"/>
            <a:ext cx="423043" cy="530021"/>
          </a:xfrm>
          <a:prstGeom prst="bentConnector3">
            <a:avLst>
              <a:gd name="adj1" fmla="val 50000"/>
            </a:avLst>
          </a:prstGeom>
          <a:ln w="38100">
            <a:solidFill>
              <a:srgbClr val="00B0F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756426" y="5091366"/>
            <a:ext cx="316940" cy="0"/>
          </a:xfrm>
          <a:prstGeom prst="straightConnector1">
            <a:avLst/>
          </a:prstGeom>
          <a:noFill/>
          <a:ln w="38100" cap="flat" cmpd="sng" algn="ctr">
            <a:solidFill>
              <a:srgbClr val="00B0F0"/>
            </a:solidFill>
            <a:prstDash val="solid"/>
            <a:miter lim="800000"/>
            <a:headEnd type="triangle" w="med" len="med"/>
            <a:tailEnd type="triangle" w="med" len="med"/>
          </a:ln>
          <a:effectLst/>
        </p:spPr>
      </p:cxnSp>
      <p:cxnSp>
        <p:nvCxnSpPr>
          <p:cNvPr id="67" name="Straight Arrow Connector 66"/>
          <p:cNvCxnSpPr/>
          <p:nvPr/>
        </p:nvCxnSpPr>
        <p:spPr>
          <a:xfrm flipV="1">
            <a:off x="2213727" y="4375155"/>
            <a:ext cx="1865578" cy="758"/>
          </a:xfrm>
          <a:prstGeom prst="straightConnector1">
            <a:avLst/>
          </a:prstGeom>
          <a:noFill/>
          <a:ln w="38100" cap="flat" cmpd="sng" algn="ctr">
            <a:solidFill>
              <a:srgbClr val="00B0F0"/>
            </a:solidFill>
            <a:prstDash val="solid"/>
            <a:miter lim="800000"/>
            <a:headEnd type="triangle" w="med" len="med"/>
            <a:tailEnd type="triangle" w="med" len="med"/>
          </a:ln>
          <a:effectLst/>
        </p:spPr>
      </p:cxnSp>
      <p:sp>
        <p:nvSpPr>
          <p:cNvPr id="70" name="Rectangle 69"/>
          <p:cNvSpPr/>
          <p:nvPr/>
        </p:nvSpPr>
        <p:spPr>
          <a:xfrm>
            <a:off x="1086271" y="4693623"/>
            <a:ext cx="620608" cy="269889"/>
          </a:xfrm>
          <a:prstGeom prst="rect">
            <a:avLst/>
          </a:prstGeom>
          <a:solidFill>
            <a:srgbClr val="00B0F0"/>
          </a:solidFill>
          <a:ln w="6350" cap="flat" cmpd="sng" algn="ctr">
            <a:solidFill>
              <a:srgbClr val="00B0F0"/>
            </a:solidFill>
            <a:prstDash val="solid"/>
            <a:miter lim="800000"/>
          </a:ln>
          <a:effectLst/>
        </p:spPr>
        <p:txBody>
          <a:bodyPr rtlCol="0" anchor="ctr"/>
          <a:lstStyle/>
          <a:p>
            <a:pPr algn="ctr" defTabSz="913873"/>
            <a:r>
              <a:rPr lang="en-US" sz="1198" kern="0" dirty="0">
                <a:solidFill>
                  <a:prstClr val="white"/>
                </a:solidFill>
                <a:cs typeface="Arial" panose="020B0604020202020204" pitchFamily="34" charset="0"/>
              </a:rPr>
              <a:t>Agent</a:t>
            </a:r>
            <a:endParaRPr lang="en-US" sz="1097" kern="0" dirty="0">
              <a:solidFill>
                <a:prstClr val="white"/>
              </a:solidFill>
              <a:cs typeface="Arial" panose="020B0604020202020204" pitchFamily="34" charset="0"/>
            </a:endParaRPr>
          </a:p>
        </p:txBody>
      </p:sp>
    </p:spTree>
    <p:extLst>
      <p:ext uri="{BB962C8B-B14F-4D97-AF65-F5344CB8AC3E}">
        <p14:creationId xmlns:p14="http://schemas.microsoft.com/office/powerpoint/2010/main" val="316139791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genda</a:t>
            </a:r>
          </a:p>
        </p:txBody>
      </p:sp>
      <p:sp>
        <p:nvSpPr>
          <p:cNvPr id="5" name="Text Placeholder 4"/>
          <p:cNvSpPr>
            <a:spLocks noGrp="1"/>
          </p:cNvSpPr>
          <p:nvPr>
            <p:ph type="body" sz="quarter" idx="10"/>
          </p:nvPr>
        </p:nvSpPr>
        <p:spPr>
          <a:xfrm>
            <a:off x="274638" y="1212850"/>
            <a:ext cx="11887200" cy="2769989"/>
          </a:xfrm>
        </p:spPr>
        <p:txBody>
          <a:bodyPr/>
          <a:lstStyle/>
          <a:p>
            <a:r>
              <a:rPr lang="en-US" dirty="0"/>
              <a:t>Device connectivity in </a:t>
            </a:r>
            <a:r>
              <a:rPr lang="en-US" dirty="0" err="1"/>
              <a:t>Azur</a:t>
            </a:r>
            <a:r>
              <a:rPr lang="hu-HU" dirty="0"/>
              <a:t>e</a:t>
            </a:r>
            <a:endParaRPr lang="en-US" dirty="0"/>
          </a:p>
          <a:p>
            <a:r>
              <a:rPr lang="en-US" dirty="0"/>
              <a:t>Azure IoT Suite: IoT Hub</a:t>
            </a:r>
          </a:p>
          <a:p>
            <a:r>
              <a:rPr lang="en-US" dirty="0"/>
              <a:t>Device identity and provisioning</a:t>
            </a:r>
          </a:p>
          <a:p>
            <a:r>
              <a:rPr lang="hu-HU" dirty="0"/>
              <a:t>D2C/C2D</a:t>
            </a:r>
            <a:r>
              <a:rPr lang="en-US"/>
              <a:t> messages</a:t>
            </a:r>
            <a:endParaRPr lang="hu-HU" dirty="0"/>
          </a:p>
        </p:txBody>
      </p:sp>
    </p:spTree>
    <p:extLst>
      <p:ext uri="{BB962C8B-B14F-4D97-AF65-F5344CB8AC3E}">
        <p14:creationId xmlns:p14="http://schemas.microsoft.com/office/powerpoint/2010/main" val="265185602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17575"/>
          </a:xfrm>
        </p:spPr>
        <p:txBody>
          <a:bodyPr/>
          <a:lstStyle/>
          <a:p>
            <a:r>
              <a:rPr lang="en-US" dirty="0"/>
              <a:t>IoT is an Inflection Point</a:t>
            </a:r>
            <a:endParaRPr lang="en-IN" dirty="0"/>
          </a:p>
        </p:txBody>
      </p:sp>
      <p:sp>
        <p:nvSpPr>
          <p:cNvPr id="4" name="Rectangle 3"/>
          <p:cNvSpPr>
            <a:spLocks/>
          </p:cNvSpPr>
          <p:nvPr/>
        </p:nvSpPr>
        <p:spPr bwMode="auto">
          <a:xfrm>
            <a:off x="503237" y="2125662"/>
            <a:ext cx="2286000" cy="27432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Hardware </a:t>
            </a:r>
          </a:p>
          <a:p>
            <a:pPr algn="ctr" defTabSz="932543">
              <a:lnSpc>
                <a:spcPct val="90000"/>
              </a:lnSpc>
            </a:pPr>
            <a:r>
              <a:rPr lang="en-US" sz="2400" spc="-50" dirty="0">
                <a:solidFill>
                  <a:prstClr val="white"/>
                </a:solidFill>
                <a:latin typeface="Segoe UI Light"/>
              </a:rPr>
              <a:t>is cheap</a:t>
            </a:r>
          </a:p>
        </p:txBody>
      </p:sp>
      <p:sp>
        <p:nvSpPr>
          <p:cNvPr id="5" name="Rectangle 4"/>
          <p:cNvSpPr>
            <a:spLocks/>
          </p:cNvSpPr>
          <p:nvPr/>
        </p:nvSpPr>
        <p:spPr bwMode="auto">
          <a:xfrm>
            <a:off x="2775502" y="2125662"/>
            <a:ext cx="2286000" cy="27432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Connectivity </a:t>
            </a:r>
          </a:p>
          <a:p>
            <a:pPr algn="ctr" defTabSz="932543">
              <a:lnSpc>
                <a:spcPct val="90000"/>
              </a:lnSpc>
            </a:pPr>
            <a:r>
              <a:rPr lang="en-US" sz="2400" spc="-50" dirty="0">
                <a:solidFill>
                  <a:prstClr val="white"/>
                </a:solidFill>
                <a:latin typeface="Segoe UI Light"/>
              </a:rPr>
              <a:t>is pervasive</a:t>
            </a:r>
          </a:p>
        </p:txBody>
      </p:sp>
      <p:sp>
        <p:nvSpPr>
          <p:cNvPr id="6" name="Rectangle 5"/>
          <p:cNvSpPr>
            <a:spLocks/>
          </p:cNvSpPr>
          <p:nvPr/>
        </p:nvSpPr>
        <p:spPr bwMode="auto">
          <a:xfrm>
            <a:off x="5047767" y="2125662"/>
            <a:ext cx="2286000" cy="2743200"/>
          </a:xfrm>
          <a:prstGeom prst="rect">
            <a:avLst/>
          </a:prstGeom>
          <a:solidFill>
            <a:schemeClr val="accent3">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Development </a:t>
            </a:r>
          </a:p>
          <a:p>
            <a:pPr algn="ctr" defTabSz="932543">
              <a:lnSpc>
                <a:spcPct val="90000"/>
              </a:lnSpc>
            </a:pPr>
            <a:r>
              <a:rPr lang="en-US" sz="2400" spc="-50" dirty="0">
                <a:solidFill>
                  <a:prstClr val="white"/>
                </a:solidFill>
                <a:latin typeface="Segoe UI Light"/>
              </a:rPr>
              <a:t>is easy</a:t>
            </a:r>
          </a:p>
        </p:txBody>
      </p:sp>
      <p:sp>
        <p:nvSpPr>
          <p:cNvPr id="7" name="Rectangle 6"/>
          <p:cNvSpPr>
            <a:spLocks/>
          </p:cNvSpPr>
          <p:nvPr/>
        </p:nvSpPr>
        <p:spPr bwMode="auto">
          <a:xfrm>
            <a:off x="9609059" y="2125662"/>
            <a:ext cx="2286000" cy="2743200"/>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New Innovative Scenarios</a:t>
            </a:r>
          </a:p>
        </p:txBody>
      </p:sp>
      <p:sp>
        <p:nvSpPr>
          <p:cNvPr id="8" name="Rectangle 7"/>
          <p:cNvSpPr>
            <a:spLocks/>
          </p:cNvSpPr>
          <p:nvPr/>
        </p:nvSpPr>
        <p:spPr bwMode="auto">
          <a:xfrm>
            <a:off x="7320032" y="2125662"/>
            <a:ext cx="2286000" cy="2743200"/>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7121" tIns="91414" rIns="91414" bIns="46623" numCol="1" rtlCol="0" anchor="b" anchorCtr="0" compatLnSpc="1">
            <a:prstTxWarp prst="textNoShape">
              <a:avLst/>
            </a:prstTxWarp>
          </a:bodyPr>
          <a:lstStyle/>
          <a:p>
            <a:pPr algn="ctr" defTabSz="932543">
              <a:lnSpc>
                <a:spcPct val="90000"/>
              </a:lnSpc>
            </a:pPr>
            <a:r>
              <a:rPr lang="en-US" sz="2400" spc="-50" dirty="0">
                <a:solidFill>
                  <a:prstClr val="white"/>
                </a:solidFill>
                <a:latin typeface="Segoe UI Light"/>
              </a:rPr>
              <a:t>Huge benefits </a:t>
            </a:r>
          </a:p>
          <a:p>
            <a:pPr algn="ctr" defTabSz="932543">
              <a:lnSpc>
                <a:spcPct val="90000"/>
              </a:lnSpc>
            </a:pPr>
            <a:r>
              <a:rPr lang="en-US" sz="2400" spc="-50" dirty="0">
                <a:solidFill>
                  <a:prstClr val="white"/>
                </a:solidFill>
                <a:latin typeface="Segoe UI Light"/>
              </a:rPr>
              <a:t>fuel demand</a:t>
            </a:r>
          </a:p>
        </p:txBody>
      </p:sp>
      <p:sp>
        <p:nvSpPr>
          <p:cNvPr id="9" name="Donut 305"/>
          <p:cNvSpPr>
            <a:spLocks noChangeAspect="1"/>
          </p:cNvSpPr>
          <p:nvPr/>
        </p:nvSpPr>
        <p:spPr bwMode="auto">
          <a:xfrm>
            <a:off x="2990863" y="2433265"/>
            <a:ext cx="1695312" cy="1074103"/>
          </a:xfrm>
          <a:custGeom>
            <a:avLst/>
            <a:gdLst/>
            <a:ahLst/>
            <a:cxnLst/>
            <a:rect l="l" t="t" r="r" b="b"/>
            <a:pathLst>
              <a:path w="14304566" h="9062981">
                <a:moveTo>
                  <a:pt x="8670498" y="2652923"/>
                </a:moveTo>
                <a:cubicBezTo>
                  <a:pt x="9175507" y="2652923"/>
                  <a:pt x="9584898" y="3062314"/>
                  <a:pt x="9584898" y="3567323"/>
                </a:cubicBezTo>
                <a:cubicBezTo>
                  <a:pt x="9584898" y="4072332"/>
                  <a:pt x="9175507" y="4481723"/>
                  <a:pt x="8670498" y="4481723"/>
                </a:cubicBezTo>
                <a:cubicBezTo>
                  <a:pt x="8501378" y="4481723"/>
                  <a:pt x="8342981" y="4435811"/>
                  <a:pt x="8207589" y="4354926"/>
                </a:cubicBezTo>
                <a:lnTo>
                  <a:pt x="6626750" y="6132018"/>
                </a:lnTo>
                <a:cubicBezTo>
                  <a:pt x="6652031" y="6215011"/>
                  <a:pt x="6665384" y="6303098"/>
                  <a:pt x="6665384" y="6394304"/>
                </a:cubicBezTo>
                <a:cubicBezTo>
                  <a:pt x="6665384" y="6899313"/>
                  <a:pt x="6255993" y="7308704"/>
                  <a:pt x="5750984" y="7308704"/>
                </a:cubicBezTo>
                <a:cubicBezTo>
                  <a:pt x="5245975" y="7308704"/>
                  <a:pt x="4836584" y="6899313"/>
                  <a:pt x="4836584" y="6394304"/>
                </a:cubicBezTo>
                <a:cubicBezTo>
                  <a:pt x="4836584" y="6331269"/>
                  <a:pt x="4842962" y="6269723"/>
                  <a:pt x="4855122" y="6210279"/>
                </a:cubicBezTo>
                <a:lnTo>
                  <a:pt x="2501860" y="4794006"/>
                </a:lnTo>
                <a:cubicBezTo>
                  <a:pt x="2361632" y="4942836"/>
                  <a:pt x="2171420" y="5043486"/>
                  <a:pt x="1958053" y="5069721"/>
                </a:cubicBezTo>
                <a:lnTo>
                  <a:pt x="1382054" y="7363861"/>
                </a:lnTo>
                <a:cubicBezTo>
                  <a:pt x="1649831" y="7522578"/>
                  <a:pt x="1828800" y="7814679"/>
                  <a:pt x="1828800" y="8148581"/>
                </a:cubicBezTo>
                <a:cubicBezTo>
                  <a:pt x="1828800" y="8653590"/>
                  <a:pt x="1419409" y="9062981"/>
                  <a:pt x="914400" y="9062981"/>
                </a:cubicBezTo>
                <a:cubicBezTo>
                  <a:pt x="409391" y="9062981"/>
                  <a:pt x="0" y="8653590"/>
                  <a:pt x="0" y="8148581"/>
                </a:cubicBezTo>
                <a:cubicBezTo>
                  <a:pt x="0" y="7665360"/>
                  <a:pt x="374828" y="7269684"/>
                  <a:pt x="849668" y="7237450"/>
                </a:cubicBezTo>
                <a:lnTo>
                  <a:pt x="1418156" y="4973225"/>
                </a:lnTo>
                <a:cubicBezTo>
                  <a:pt x="1126475" y="4820838"/>
                  <a:pt x="927673" y="4515354"/>
                  <a:pt x="927673" y="4163436"/>
                </a:cubicBezTo>
                <a:cubicBezTo>
                  <a:pt x="927673" y="3658427"/>
                  <a:pt x="1337064" y="3249036"/>
                  <a:pt x="1842073" y="3249036"/>
                </a:cubicBezTo>
                <a:cubicBezTo>
                  <a:pt x="2347082" y="3249036"/>
                  <a:pt x="2756473" y="3658427"/>
                  <a:pt x="2756473" y="4163436"/>
                </a:cubicBezTo>
                <a:cubicBezTo>
                  <a:pt x="2756473" y="4210496"/>
                  <a:pt x="2752918" y="4256726"/>
                  <a:pt x="2744920" y="4301698"/>
                </a:cubicBezTo>
                <a:lnTo>
                  <a:pt x="5122633" y="5732687"/>
                </a:lnTo>
                <a:cubicBezTo>
                  <a:pt x="5285259" y="5575494"/>
                  <a:pt x="5506958" y="5479904"/>
                  <a:pt x="5750984" y="5479904"/>
                </a:cubicBezTo>
                <a:cubicBezTo>
                  <a:pt x="5960050" y="5479904"/>
                  <a:pt x="6152728" y="5550067"/>
                  <a:pt x="6304562" y="5670994"/>
                </a:cubicBezTo>
                <a:lnTo>
                  <a:pt x="7838965" y="3946103"/>
                </a:lnTo>
                <a:cubicBezTo>
                  <a:pt x="7785462" y="3830964"/>
                  <a:pt x="7756098" y="3702573"/>
                  <a:pt x="7756098" y="3567323"/>
                </a:cubicBezTo>
                <a:cubicBezTo>
                  <a:pt x="7756098" y="3062314"/>
                  <a:pt x="8165489" y="2652923"/>
                  <a:pt x="8670498" y="2652923"/>
                </a:cubicBezTo>
                <a:close/>
                <a:moveTo>
                  <a:pt x="9615161" y="2601056"/>
                </a:moveTo>
                <a:lnTo>
                  <a:pt x="9875510" y="3082288"/>
                </a:lnTo>
                <a:lnTo>
                  <a:pt x="9662680" y="3197429"/>
                </a:lnTo>
                <a:lnTo>
                  <a:pt x="9402332" y="2716198"/>
                </a:lnTo>
                <a:close/>
                <a:moveTo>
                  <a:pt x="10346150" y="2231354"/>
                </a:moveTo>
                <a:lnTo>
                  <a:pt x="10606499" y="2712586"/>
                </a:lnTo>
                <a:lnTo>
                  <a:pt x="10232176" y="2915096"/>
                </a:lnTo>
                <a:lnTo>
                  <a:pt x="9971827" y="2433864"/>
                </a:lnTo>
                <a:close/>
                <a:moveTo>
                  <a:pt x="11150437" y="1784309"/>
                </a:moveTo>
                <a:lnTo>
                  <a:pt x="11410786" y="2265541"/>
                </a:lnTo>
                <a:lnTo>
                  <a:pt x="10981100" y="2498003"/>
                </a:lnTo>
                <a:lnTo>
                  <a:pt x="10720751" y="2016771"/>
                </a:lnTo>
                <a:close/>
                <a:moveTo>
                  <a:pt x="11906021" y="1412476"/>
                </a:moveTo>
                <a:lnTo>
                  <a:pt x="12166370" y="1893708"/>
                </a:lnTo>
                <a:lnTo>
                  <a:pt x="11689215" y="2151851"/>
                </a:lnTo>
                <a:lnTo>
                  <a:pt x="11428867" y="1670619"/>
                </a:lnTo>
                <a:close/>
                <a:moveTo>
                  <a:pt x="13207286" y="548640"/>
                </a:moveTo>
                <a:cubicBezTo>
                  <a:pt x="12904280" y="548640"/>
                  <a:pt x="12658646" y="794274"/>
                  <a:pt x="12658646" y="1097280"/>
                </a:cubicBezTo>
                <a:cubicBezTo>
                  <a:pt x="12658646" y="1400286"/>
                  <a:pt x="12904280" y="1645920"/>
                  <a:pt x="13207286" y="1645920"/>
                </a:cubicBezTo>
                <a:cubicBezTo>
                  <a:pt x="13510292" y="1645920"/>
                  <a:pt x="13755926" y="1400286"/>
                  <a:pt x="13755926" y="1097280"/>
                </a:cubicBezTo>
                <a:cubicBezTo>
                  <a:pt x="13755926" y="794274"/>
                  <a:pt x="13510292" y="548640"/>
                  <a:pt x="13207286" y="548640"/>
                </a:cubicBezTo>
                <a:close/>
                <a:moveTo>
                  <a:pt x="13207286" y="0"/>
                </a:moveTo>
                <a:cubicBezTo>
                  <a:pt x="13813297" y="0"/>
                  <a:pt x="14304566" y="491269"/>
                  <a:pt x="14304566" y="1097280"/>
                </a:cubicBezTo>
                <a:cubicBezTo>
                  <a:pt x="14304566" y="1703291"/>
                  <a:pt x="13813297" y="2194560"/>
                  <a:pt x="13207286" y="2194560"/>
                </a:cubicBezTo>
                <a:cubicBezTo>
                  <a:pt x="12601275" y="2194560"/>
                  <a:pt x="12110006" y="1703291"/>
                  <a:pt x="12110006" y="1097280"/>
                </a:cubicBezTo>
                <a:cubicBezTo>
                  <a:pt x="12110006" y="491269"/>
                  <a:pt x="12601275" y="0"/>
                  <a:pt x="1320728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9"/>
          <p:cNvSpPr>
            <a:spLocks noChangeAspect="1"/>
          </p:cNvSpPr>
          <p:nvPr/>
        </p:nvSpPr>
        <p:spPr bwMode="auto">
          <a:xfrm>
            <a:off x="7759515" y="2433265"/>
            <a:ext cx="1265175" cy="865734"/>
          </a:xfrm>
          <a:custGeom>
            <a:avLst/>
            <a:gdLst>
              <a:gd name="connsiteX0" fmla="*/ 1329613 w 6424245"/>
              <a:gd name="connsiteY0" fmla="*/ 2742987 h 4395983"/>
              <a:gd name="connsiteX1" fmla="*/ 978237 w 6424245"/>
              <a:gd name="connsiteY1" fmla="*/ 2929812 h 4395983"/>
              <a:gd name="connsiteX2" fmla="*/ 968047 w 6424245"/>
              <a:gd name="connsiteY2" fmla="*/ 2948585 h 4395983"/>
              <a:gd name="connsiteX3" fmla="*/ 1339725 w 6424245"/>
              <a:gd name="connsiteY3" fmla="*/ 3156740 h 4395983"/>
              <a:gd name="connsiteX4" fmla="*/ 959729 w 6424245"/>
              <a:gd name="connsiteY4" fmla="*/ 3369555 h 4395983"/>
              <a:gd name="connsiteX5" fmla="*/ 978237 w 6424245"/>
              <a:gd name="connsiteY5" fmla="*/ 3403654 h 4395983"/>
              <a:gd name="connsiteX6" fmla="*/ 1329613 w 6424245"/>
              <a:gd name="connsiteY6" fmla="*/ 3590479 h 4395983"/>
              <a:gd name="connsiteX7" fmla="*/ 1753361 w 6424245"/>
              <a:gd name="connsiteY7" fmla="*/ 3166733 h 4395983"/>
              <a:gd name="connsiteX8" fmla="*/ 1329613 w 6424245"/>
              <a:gd name="connsiteY8" fmla="*/ 2742987 h 4395983"/>
              <a:gd name="connsiteX9" fmla="*/ 1329613 w 6424245"/>
              <a:gd name="connsiteY9" fmla="*/ 2630820 h 4395983"/>
              <a:gd name="connsiteX10" fmla="*/ 1865527 w 6424245"/>
              <a:gd name="connsiteY10" fmla="*/ 3166733 h 4395983"/>
              <a:gd name="connsiteX11" fmla="*/ 1329613 w 6424245"/>
              <a:gd name="connsiteY11" fmla="*/ 3702646 h 4395983"/>
              <a:gd name="connsiteX12" fmla="*/ 793701 w 6424245"/>
              <a:gd name="connsiteY12" fmla="*/ 3166733 h 4395983"/>
              <a:gd name="connsiteX13" fmla="*/ 1329613 w 6424245"/>
              <a:gd name="connsiteY13" fmla="*/ 2630820 h 4395983"/>
              <a:gd name="connsiteX14" fmla="*/ 967611 w 6424245"/>
              <a:gd name="connsiteY14" fmla="*/ 2032726 h 4395983"/>
              <a:gd name="connsiteX15" fmla="*/ 2865681 w 6424245"/>
              <a:gd name="connsiteY15" fmla="*/ 2032726 h 4395983"/>
              <a:gd name="connsiteX16" fmla="*/ 2961235 w 6424245"/>
              <a:gd name="connsiteY16" fmla="*/ 2105638 h 4395983"/>
              <a:gd name="connsiteX17" fmla="*/ 2961235 w 6424245"/>
              <a:gd name="connsiteY17" fmla="*/ 2125081 h 4395983"/>
              <a:gd name="connsiteX18" fmla="*/ 2865681 w 6424245"/>
              <a:gd name="connsiteY18" fmla="*/ 2197992 h 4395983"/>
              <a:gd name="connsiteX19" fmla="*/ 967611 w 6424245"/>
              <a:gd name="connsiteY19" fmla="*/ 2197992 h 4395983"/>
              <a:gd name="connsiteX20" fmla="*/ 876399 w 6424245"/>
              <a:gd name="connsiteY20" fmla="*/ 2125081 h 4395983"/>
              <a:gd name="connsiteX21" fmla="*/ 876399 w 6424245"/>
              <a:gd name="connsiteY21" fmla="*/ 2105638 h 4395983"/>
              <a:gd name="connsiteX22" fmla="*/ 967611 w 6424245"/>
              <a:gd name="connsiteY22" fmla="*/ 2032726 h 4395983"/>
              <a:gd name="connsiteX23" fmla="*/ 640908 w 6424245"/>
              <a:gd name="connsiteY23" fmla="*/ 2032726 h 4395983"/>
              <a:gd name="connsiteX24" fmla="*/ 726109 w 6424245"/>
              <a:gd name="connsiteY24" fmla="*/ 2115359 h 4395983"/>
              <a:gd name="connsiteX25" fmla="*/ 640908 w 6424245"/>
              <a:gd name="connsiteY25" fmla="*/ 2197992 h 4395983"/>
              <a:gd name="connsiteX26" fmla="*/ 555708 w 6424245"/>
              <a:gd name="connsiteY26" fmla="*/ 2115359 h 4395983"/>
              <a:gd name="connsiteX27" fmla="*/ 640908 w 6424245"/>
              <a:gd name="connsiteY27" fmla="*/ 2032726 h 4395983"/>
              <a:gd name="connsiteX28" fmla="*/ 640908 w 6424245"/>
              <a:gd name="connsiteY28" fmla="*/ 1703220 h 4395983"/>
              <a:gd name="connsiteX29" fmla="*/ 726109 w 6424245"/>
              <a:gd name="connsiteY29" fmla="*/ 1785340 h 4395983"/>
              <a:gd name="connsiteX30" fmla="*/ 640908 w 6424245"/>
              <a:gd name="connsiteY30" fmla="*/ 1867460 h 4395983"/>
              <a:gd name="connsiteX31" fmla="*/ 555708 w 6424245"/>
              <a:gd name="connsiteY31" fmla="*/ 1785340 h 4395983"/>
              <a:gd name="connsiteX32" fmla="*/ 640908 w 6424245"/>
              <a:gd name="connsiteY32" fmla="*/ 1703220 h 4395983"/>
              <a:gd name="connsiteX33" fmla="*/ 967597 w 6424245"/>
              <a:gd name="connsiteY33" fmla="*/ 1703220 h 4395983"/>
              <a:gd name="connsiteX34" fmla="*/ 2639561 w 6424245"/>
              <a:gd name="connsiteY34" fmla="*/ 1703220 h 4395983"/>
              <a:gd name="connsiteX35" fmla="*/ 2735101 w 6424245"/>
              <a:gd name="connsiteY35" fmla="*/ 1775679 h 4395983"/>
              <a:gd name="connsiteX36" fmla="*/ 2735101 w 6424245"/>
              <a:gd name="connsiteY36" fmla="*/ 1795001 h 4395983"/>
              <a:gd name="connsiteX37" fmla="*/ 2639561 w 6424245"/>
              <a:gd name="connsiteY37" fmla="*/ 1867460 h 4395983"/>
              <a:gd name="connsiteX38" fmla="*/ 967597 w 6424245"/>
              <a:gd name="connsiteY38" fmla="*/ 1867460 h 4395983"/>
              <a:gd name="connsiteX39" fmla="*/ 876399 w 6424245"/>
              <a:gd name="connsiteY39" fmla="*/ 1795001 h 4395983"/>
              <a:gd name="connsiteX40" fmla="*/ 876399 w 6424245"/>
              <a:gd name="connsiteY40" fmla="*/ 1775679 h 4395983"/>
              <a:gd name="connsiteX41" fmla="*/ 967597 w 6424245"/>
              <a:gd name="connsiteY41" fmla="*/ 1703220 h 4395983"/>
              <a:gd name="connsiteX42" fmla="*/ 4146801 w 6424245"/>
              <a:gd name="connsiteY42" fmla="*/ 1627224 h 4395983"/>
              <a:gd name="connsiteX43" fmla="*/ 4184153 w 6424245"/>
              <a:gd name="connsiteY43" fmla="*/ 1627224 h 4395983"/>
              <a:gd name="connsiteX44" fmla="*/ 4338895 w 6424245"/>
              <a:gd name="connsiteY44" fmla="*/ 1720478 h 4395983"/>
              <a:gd name="connsiteX45" fmla="*/ 4338895 w 6424245"/>
              <a:gd name="connsiteY45" fmla="*/ 3510076 h 4395983"/>
              <a:gd name="connsiteX46" fmla="*/ 4659051 w 6424245"/>
              <a:gd name="connsiteY46" fmla="*/ 3510076 h 4395983"/>
              <a:gd name="connsiteX47" fmla="*/ 4659051 w 6424245"/>
              <a:gd name="connsiteY47" fmla="*/ 2568650 h 4395983"/>
              <a:gd name="connsiteX48" fmla="*/ 4829801 w 6424245"/>
              <a:gd name="connsiteY48" fmla="*/ 2497599 h 4395983"/>
              <a:gd name="connsiteX49" fmla="*/ 4867153 w 6424245"/>
              <a:gd name="connsiteY49" fmla="*/ 2497599 h 4395983"/>
              <a:gd name="connsiteX50" fmla="*/ 5043239 w 6424245"/>
              <a:gd name="connsiteY50" fmla="*/ 2568650 h 4395983"/>
              <a:gd name="connsiteX51" fmla="*/ 5043239 w 6424245"/>
              <a:gd name="connsiteY51" fmla="*/ 3510076 h 4395983"/>
              <a:gd name="connsiteX52" fmla="*/ 5363395 w 6424245"/>
              <a:gd name="connsiteY52" fmla="*/ 3510076 h 4395983"/>
              <a:gd name="connsiteX53" fmla="*/ 5363395 w 6424245"/>
              <a:gd name="connsiteY53" fmla="*/ 2151225 h 4395983"/>
              <a:gd name="connsiteX54" fmla="*/ 5507465 w 6424245"/>
              <a:gd name="connsiteY54" fmla="*/ 2053530 h 4395983"/>
              <a:gd name="connsiteX55" fmla="*/ 5544817 w 6424245"/>
              <a:gd name="connsiteY55" fmla="*/ 2053530 h 4395983"/>
              <a:gd name="connsiteX56" fmla="*/ 5704895 w 6424245"/>
              <a:gd name="connsiteY56" fmla="*/ 2151225 h 4395983"/>
              <a:gd name="connsiteX57" fmla="*/ 5704895 w 6424245"/>
              <a:gd name="connsiteY57" fmla="*/ 3510076 h 4395983"/>
              <a:gd name="connsiteX58" fmla="*/ 5843629 w 6424245"/>
              <a:gd name="connsiteY58" fmla="*/ 3510076 h 4395983"/>
              <a:gd name="connsiteX59" fmla="*/ 5902325 w 6424245"/>
              <a:gd name="connsiteY59" fmla="*/ 3572245 h 4395983"/>
              <a:gd name="connsiteX60" fmla="*/ 5843629 w 6424245"/>
              <a:gd name="connsiteY60" fmla="*/ 3634415 h 4395983"/>
              <a:gd name="connsiteX61" fmla="*/ 3159655 w 6424245"/>
              <a:gd name="connsiteY61" fmla="*/ 3634415 h 4395983"/>
              <a:gd name="connsiteX62" fmla="*/ 3100959 w 6424245"/>
              <a:gd name="connsiteY62" fmla="*/ 3572245 h 4395983"/>
              <a:gd name="connsiteX63" fmla="*/ 3159655 w 6424245"/>
              <a:gd name="connsiteY63" fmla="*/ 3510076 h 4395983"/>
              <a:gd name="connsiteX64" fmla="*/ 3335741 w 6424245"/>
              <a:gd name="connsiteY64" fmla="*/ 3510076 h 4395983"/>
              <a:gd name="connsiteX65" fmla="*/ 3335741 w 6424245"/>
              <a:gd name="connsiteY65" fmla="*/ 2883939 h 4395983"/>
              <a:gd name="connsiteX66" fmla="*/ 3469139 w 6424245"/>
              <a:gd name="connsiteY66" fmla="*/ 2799566 h 4395983"/>
              <a:gd name="connsiteX67" fmla="*/ 3506489 w 6424245"/>
              <a:gd name="connsiteY67" fmla="*/ 2799566 h 4395983"/>
              <a:gd name="connsiteX68" fmla="*/ 3655897 w 6424245"/>
              <a:gd name="connsiteY68" fmla="*/ 2883939 h 4395983"/>
              <a:gd name="connsiteX69" fmla="*/ 3655897 w 6424245"/>
              <a:gd name="connsiteY69" fmla="*/ 3510076 h 4395983"/>
              <a:gd name="connsiteX70" fmla="*/ 3997395 w 6424245"/>
              <a:gd name="connsiteY70" fmla="*/ 3510076 h 4395983"/>
              <a:gd name="connsiteX71" fmla="*/ 3997395 w 6424245"/>
              <a:gd name="connsiteY71" fmla="*/ 1720478 h 4395983"/>
              <a:gd name="connsiteX72" fmla="*/ 4146801 w 6424245"/>
              <a:gd name="connsiteY72" fmla="*/ 1627224 h 4395983"/>
              <a:gd name="connsiteX73" fmla="*/ 967641 w 6424245"/>
              <a:gd name="connsiteY73" fmla="*/ 1372687 h 4395983"/>
              <a:gd name="connsiteX74" fmla="*/ 3005373 w 6424245"/>
              <a:gd name="connsiteY74" fmla="*/ 1372687 h 4395983"/>
              <a:gd name="connsiteX75" fmla="*/ 3100959 w 6424245"/>
              <a:gd name="connsiteY75" fmla="*/ 1445598 h 4395983"/>
              <a:gd name="connsiteX76" fmla="*/ 3100959 w 6424245"/>
              <a:gd name="connsiteY76" fmla="*/ 1465041 h 4395983"/>
              <a:gd name="connsiteX77" fmla="*/ 3005373 w 6424245"/>
              <a:gd name="connsiteY77" fmla="*/ 1537953 h 4395983"/>
              <a:gd name="connsiteX78" fmla="*/ 967641 w 6424245"/>
              <a:gd name="connsiteY78" fmla="*/ 1537953 h 4395983"/>
              <a:gd name="connsiteX79" fmla="*/ 876399 w 6424245"/>
              <a:gd name="connsiteY79" fmla="*/ 1465041 h 4395983"/>
              <a:gd name="connsiteX80" fmla="*/ 876399 w 6424245"/>
              <a:gd name="connsiteY80" fmla="*/ 1445598 h 4395983"/>
              <a:gd name="connsiteX81" fmla="*/ 967641 w 6424245"/>
              <a:gd name="connsiteY81" fmla="*/ 1372687 h 4395983"/>
              <a:gd name="connsiteX82" fmla="*/ 640908 w 6424245"/>
              <a:gd name="connsiteY82" fmla="*/ 1372687 h 4395983"/>
              <a:gd name="connsiteX83" fmla="*/ 726109 w 6424245"/>
              <a:gd name="connsiteY83" fmla="*/ 1455320 h 4395983"/>
              <a:gd name="connsiteX84" fmla="*/ 640908 w 6424245"/>
              <a:gd name="connsiteY84" fmla="*/ 1537953 h 4395983"/>
              <a:gd name="connsiteX85" fmla="*/ 555708 w 6424245"/>
              <a:gd name="connsiteY85" fmla="*/ 1455320 h 4395983"/>
              <a:gd name="connsiteX86" fmla="*/ 640908 w 6424245"/>
              <a:gd name="connsiteY86" fmla="*/ 1372687 h 4395983"/>
              <a:gd name="connsiteX87" fmla="*/ 967591 w 6424245"/>
              <a:gd name="connsiteY87" fmla="*/ 1043181 h 4395983"/>
              <a:gd name="connsiteX88" fmla="*/ 2952109 w 6424245"/>
              <a:gd name="connsiteY88" fmla="*/ 1043181 h 4395983"/>
              <a:gd name="connsiteX89" fmla="*/ 3047643 w 6424245"/>
              <a:gd name="connsiteY89" fmla="*/ 1116092 h 4395983"/>
              <a:gd name="connsiteX90" fmla="*/ 3047643 w 6424245"/>
              <a:gd name="connsiteY90" fmla="*/ 1135535 h 4395983"/>
              <a:gd name="connsiteX91" fmla="*/ 2952109 w 6424245"/>
              <a:gd name="connsiteY91" fmla="*/ 1208447 h 4395983"/>
              <a:gd name="connsiteX92" fmla="*/ 967591 w 6424245"/>
              <a:gd name="connsiteY92" fmla="*/ 1208447 h 4395983"/>
              <a:gd name="connsiteX93" fmla="*/ 876399 w 6424245"/>
              <a:gd name="connsiteY93" fmla="*/ 1135535 h 4395983"/>
              <a:gd name="connsiteX94" fmla="*/ 876399 w 6424245"/>
              <a:gd name="connsiteY94" fmla="*/ 1116092 h 4395983"/>
              <a:gd name="connsiteX95" fmla="*/ 967591 w 6424245"/>
              <a:gd name="connsiteY95" fmla="*/ 1043181 h 4395983"/>
              <a:gd name="connsiteX96" fmla="*/ 640908 w 6424245"/>
              <a:gd name="connsiteY96" fmla="*/ 1043181 h 4395983"/>
              <a:gd name="connsiteX97" fmla="*/ 726109 w 6424245"/>
              <a:gd name="connsiteY97" fmla="*/ 1125814 h 4395983"/>
              <a:gd name="connsiteX98" fmla="*/ 640908 w 6424245"/>
              <a:gd name="connsiteY98" fmla="*/ 1208447 h 4395983"/>
              <a:gd name="connsiteX99" fmla="*/ 555708 w 6424245"/>
              <a:gd name="connsiteY99" fmla="*/ 1125814 h 4395983"/>
              <a:gd name="connsiteX100" fmla="*/ 640908 w 6424245"/>
              <a:gd name="connsiteY100" fmla="*/ 1043181 h 4395983"/>
              <a:gd name="connsiteX101" fmla="*/ 324140 w 6424245"/>
              <a:gd name="connsiteY101" fmla="*/ 703848 h 4395983"/>
              <a:gd name="connsiteX102" fmla="*/ 324140 w 6424245"/>
              <a:gd name="connsiteY102" fmla="*/ 4113425 h 4395983"/>
              <a:gd name="connsiteX103" fmla="*/ 6100105 w 6424245"/>
              <a:gd name="connsiteY103" fmla="*/ 4113425 h 4395983"/>
              <a:gd name="connsiteX104" fmla="*/ 6100105 w 6424245"/>
              <a:gd name="connsiteY104" fmla="*/ 703848 h 4395983"/>
              <a:gd name="connsiteX105" fmla="*/ 193423 w 6424245"/>
              <a:gd name="connsiteY105" fmla="*/ 0 h 4395983"/>
              <a:gd name="connsiteX106" fmla="*/ 6230823 w 6424245"/>
              <a:gd name="connsiteY106" fmla="*/ 0 h 4395983"/>
              <a:gd name="connsiteX107" fmla="*/ 6424245 w 6424245"/>
              <a:gd name="connsiteY107" fmla="*/ 193423 h 4395983"/>
              <a:gd name="connsiteX108" fmla="*/ 6424245 w 6424245"/>
              <a:gd name="connsiteY108" fmla="*/ 4202560 h 4395983"/>
              <a:gd name="connsiteX109" fmla="*/ 6230823 w 6424245"/>
              <a:gd name="connsiteY109" fmla="*/ 4395983 h 4395983"/>
              <a:gd name="connsiteX110" fmla="*/ 193423 w 6424245"/>
              <a:gd name="connsiteY110" fmla="*/ 4395983 h 4395983"/>
              <a:gd name="connsiteX111" fmla="*/ 0 w 6424245"/>
              <a:gd name="connsiteY111" fmla="*/ 4202560 h 4395983"/>
              <a:gd name="connsiteX112" fmla="*/ 0 w 6424245"/>
              <a:gd name="connsiteY112" fmla="*/ 193423 h 4395983"/>
              <a:gd name="connsiteX113" fmla="*/ 193423 w 6424245"/>
              <a:gd name="connsiteY113" fmla="*/ 0 h 439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424245" h="4395983">
                <a:moveTo>
                  <a:pt x="1329613" y="2742987"/>
                </a:moveTo>
                <a:cubicBezTo>
                  <a:pt x="1183347" y="2742987"/>
                  <a:pt x="1054387" y="2817095"/>
                  <a:pt x="978237" y="2929812"/>
                </a:cubicBezTo>
                <a:lnTo>
                  <a:pt x="968047" y="2948585"/>
                </a:lnTo>
                <a:lnTo>
                  <a:pt x="1339725" y="3156740"/>
                </a:lnTo>
                <a:lnTo>
                  <a:pt x="959729" y="3369555"/>
                </a:lnTo>
                <a:lnTo>
                  <a:pt x="978237" y="3403654"/>
                </a:lnTo>
                <a:cubicBezTo>
                  <a:pt x="1054387" y="3516371"/>
                  <a:pt x="1183347" y="3590479"/>
                  <a:pt x="1329613" y="3590479"/>
                </a:cubicBezTo>
                <a:cubicBezTo>
                  <a:pt x="1563643" y="3590479"/>
                  <a:pt x="1753361" y="3400762"/>
                  <a:pt x="1753361" y="3166733"/>
                </a:cubicBezTo>
                <a:cubicBezTo>
                  <a:pt x="1753361" y="2932704"/>
                  <a:pt x="1563643" y="2742987"/>
                  <a:pt x="1329613" y="2742987"/>
                </a:cubicBezTo>
                <a:close/>
                <a:moveTo>
                  <a:pt x="1329613" y="2630820"/>
                </a:moveTo>
                <a:cubicBezTo>
                  <a:pt x="1625591" y="2630820"/>
                  <a:pt x="1865527" y="2870756"/>
                  <a:pt x="1865527" y="3166733"/>
                </a:cubicBezTo>
                <a:cubicBezTo>
                  <a:pt x="1865527" y="3462710"/>
                  <a:pt x="1625591" y="3702646"/>
                  <a:pt x="1329613" y="3702646"/>
                </a:cubicBezTo>
                <a:cubicBezTo>
                  <a:pt x="1033637" y="3702646"/>
                  <a:pt x="793701" y="3462710"/>
                  <a:pt x="793701" y="3166733"/>
                </a:cubicBezTo>
                <a:cubicBezTo>
                  <a:pt x="793701" y="2870756"/>
                  <a:pt x="1033637" y="2630820"/>
                  <a:pt x="1329613" y="2630820"/>
                </a:cubicBezTo>
                <a:close/>
                <a:moveTo>
                  <a:pt x="967611" y="2032726"/>
                </a:moveTo>
                <a:cubicBezTo>
                  <a:pt x="967611" y="2032726"/>
                  <a:pt x="967611" y="2032726"/>
                  <a:pt x="2865681" y="2032726"/>
                </a:cubicBezTo>
                <a:cubicBezTo>
                  <a:pt x="2917801" y="2032726"/>
                  <a:pt x="2961235" y="2066751"/>
                  <a:pt x="2961235" y="2105638"/>
                </a:cubicBezTo>
                <a:cubicBezTo>
                  <a:pt x="2961235" y="2105638"/>
                  <a:pt x="2961235" y="2105638"/>
                  <a:pt x="2961235" y="2125081"/>
                </a:cubicBezTo>
                <a:cubicBezTo>
                  <a:pt x="2961235" y="2163967"/>
                  <a:pt x="2917801" y="2197992"/>
                  <a:pt x="2865681" y="2197992"/>
                </a:cubicBezTo>
                <a:cubicBezTo>
                  <a:pt x="2865681" y="2197992"/>
                  <a:pt x="2865681" y="2197992"/>
                  <a:pt x="967611" y="2197992"/>
                </a:cubicBezTo>
                <a:cubicBezTo>
                  <a:pt x="915489" y="2197992"/>
                  <a:pt x="876399" y="2163967"/>
                  <a:pt x="876399" y="2125081"/>
                </a:cubicBezTo>
                <a:cubicBezTo>
                  <a:pt x="876399" y="2125081"/>
                  <a:pt x="876399" y="2125081"/>
                  <a:pt x="876399" y="2105638"/>
                </a:cubicBezTo>
                <a:cubicBezTo>
                  <a:pt x="876399" y="2066751"/>
                  <a:pt x="915489" y="2032726"/>
                  <a:pt x="967611" y="2032726"/>
                </a:cubicBezTo>
                <a:close/>
                <a:moveTo>
                  <a:pt x="640908" y="2032726"/>
                </a:moveTo>
                <a:cubicBezTo>
                  <a:pt x="687963" y="2032726"/>
                  <a:pt x="726109" y="2069722"/>
                  <a:pt x="726109" y="2115359"/>
                </a:cubicBezTo>
                <a:cubicBezTo>
                  <a:pt x="726109" y="2160996"/>
                  <a:pt x="687963" y="2197992"/>
                  <a:pt x="640908" y="2197992"/>
                </a:cubicBezTo>
                <a:cubicBezTo>
                  <a:pt x="593853" y="2197992"/>
                  <a:pt x="555708" y="2160996"/>
                  <a:pt x="555708" y="2115359"/>
                </a:cubicBezTo>
                <a:cubicBezTo>
                  <a:pt x="555708" y="2069722"/>
                  <a:pt x="593853" y="2032726"/>
                  <a:pt x="640908" y="2032726"/>
                </a:cubicBezTo>
                <a:close/>
                <a:moveTo>
                  <a:pt x="640908" y="1703220"/>
                </a:moveTo>
                <a:cubicBezTo>
                  <a:pt x="687963" y="1703220"/>
                  <a:pt x="726109" y="1739986"/>
                  <a:pt x="726109" y="1785340"/>
                </a:cubicBezTo>
                <a:cubicBezTo>
                  <a:pt x="726109" y="1830694"/>
                  <a:pt x="687963" y="1867460"/>
                  <a:pt x="640908" y="1867460"/>
                </a:cubicBezTo>
                <a:cubicBezTo>
                  <a:pt x="593853" y="1867460"/>
                  <a:pt x="555708" y="1830694"/>
                  <a:pt x="555708" y="1785340"/>
                </a:cubicBezTo>
                <a:cubicBezTo>
                  <a:pt x="555708" y="1739986"/>
                  <a:pt x="593853" y="1703220"/>
                  <a:pt x="640908" y="1703220"/>
                </a:cubicBezTo>
                <a:close/>
                <a:moveTo>
                  <a:pt x="967597" y="1703220"/>
                </a:moveTo>
                <a:cubicBezTo>
                  <a:pt x="967597" y="1703220"/>
                  <a:pt x="967597" y="1703220"/>
                  <a:pt x="2639561" y="1703220"/>
                </a:cubicBezTo>
                <a:cubicBezTo>
                  <a:pt x="2691673" y="1703220"/>
                  <a:pt x="2735101" y="1737034"/>
                  <a:pt x="2735101" y="1775679"/>
                </a:cubicBezTo>
                <a:cubicBezTo>
                  <a:pt x="2735101" y="1775679"/>
                  <a:pt x="2735101" y="1775679"/>
                  <a:pt x="2735101" y="1795001"/>
                </a:cubicBezTo>
                <a:cubicBezTo>
                  <a:pt x="2735101" y="1833646"/>
                  <a:pt x="2691673" y="1867460"/>
                  <a:pt x="2639561" y="1867460"/>
                </a:cubicBezTo>
                <a:cubicBezTo>
                  <a:pt x="2639561" y="1867460"/>
                  <a:pt x="2639561" y="1867460"/>
                  <a:pt x="967597" y="1867460"/>
                </a:cubicBezTo>
                <a:cubicBezTo>
                  <a:pt x="915483" y="1867460"/>
                  <a:pt x="876399" y="1833646"/>
                  <a:pt x="876399" y="1795001"/>
                </a:cubicBezTo>
                <a:cubicBezTo>
                  <a:pt x="876399" y="1795001"/>
                  <a:pt x="876399" y="1795001"/>
                  <a:pt x="876399" y="1775679"/>
                </a:cubicBezTo>
                <a:cubicBezTo>
                  <a:pt x="876399" y="1737034"/>
                  <a:pt x="915483" y="1703220"/>
                  <a:pt x="967597" y="1703220"/>
                </a:cubicBezTo>
                <a:close/>
                <a:moveTo>
                  <a:pt x="4146801" y="1627224"/>
                </a:moveTo>
                <a:cubicBezTo>
                  <a:pt x="4146801" y="1627224"/>
                  <a:pt x="4146801" y="1627224"/>
                  <a:pt x="4184153" y="1627224"/>
                </a:cubicBezTo>
                <a:cubicBezTo>
                  <a:pt x="4269529" y="1627224"/>
                  <a:pt x="4338895" y="1671631"/>
                  <a:pt x="4338895" y="1720478"/>
                </a:cubicBezTo>
                <a:cubicBezTo>
                  <a:pt x="4338895" y="1720478"/>
                  <a:pt x="4338895" y="1720478"/>
                  <a:pt x="4338895" y="3510076"/>
                </a:cubicBezTo>
                <a:cubicBezTo>
                  <a:pt x="4338895" y="3510076"/>
                  <a:pt x="4338895" y="3510076"/>
                  <a:pt x="4659051" y="3510076"/>
                </a:cubicBezTo>
                <a:cubicBezTo>
                  <a:pt x="4659051" y="3510076"/>
                  <a:pt x="4659051" y="3510076"/>
                  <a:pt x="4659051" y="2568650"/>
                </a:cubicBezTo>
                <a:cubicBezTo>
                  <a:pt x="4659051" y="2519802"/>
                  <a:pt x="4744427" y="2497599"/>
                  <a:pt x="4829801" y="2497599"/>
                </a:cubicBezTo>
                <a:cubicBezTo>
                  <a:pt x="4829801" y="2497599"/>
                  <a:pt x="4829801" y="2497599"/>
                  <a:pt x="4867153" y="2497599"/>
                </a:cubicBezTo>
                <a:cubicBezTo>
                  <a:pt x="4947191" y="2497599"/>
                  <a:pt x="5043239" y="2519802"/>
                  <a:pt x="5043239" y="2568650"/>
                </a:cubicBezTo>
                <a:cubicBezTo>
                  <a:pt x="5043239" y="2568650"/>
                  <a:pt x="5043239" y="2568650"/>
                  <a:pt x="5043239" y="3510076"/>
                </a:cubicBezTo>
                <a:cubicBezTo>
                  <a:pt x="5043239" y="3510076"/>
                  <a:pt x="5043239" y="3510076"/>
                  <a:pt x="5363395" y="3510076"/>
                </a:cubicBezTo>
                <a:cubicBezTo>
                  <a:pt x="5363395" y="3510076"/>
                  <a:pt x="5363395" y="3510076"/>
                  <a:pt x="5363395" y="2151225"/>
                </a:cubicBezTo>
                <a:cubicBezTo>
                  <a:pt x="5363395" y="2102378"/>
                  <a:pt x="5422089" y="2053530"/>
                  <a:pt x="5507465" y="2053530"/>
                </a:cubicBezTo>
                <a:cubicBezTo>
                  <a:pt x="5507465" y="2053530"/>
                  <a:pt x="5507465" y="2053530"/>
                  <a:pt x="5544817" y="2053530"/>
                </a:cubicBezTo>
                <a:cubicBezTo>
                  <a:pt x="5630191" y="2053530"/>
                  <a:pt x="5704895" y="2102378"/>
                  <a:pt x="5704895" y="2151225"/>
                </a:cubicBezTo>
                <a:cubicBezTo>
                  <a:pt x="5704895" y="2151225"/>
                  <a:pt x="5704895" y="2151225"/>
                  <a:pt x="5704895" y="3510076"/>
                </a:cubicBezTo>
                <a:cubicBezTo>
                  <a:pt x="5704895" y="3510076"/>
                  <a:pt x="5704895" y="3510076"/>
                  <a:pt x="5843629" y="3510076"/>
                </a:cubicBezTo>
                <a:cubicBezTo>
                  <a:pt x="5875645" y="3510076"/>
                  <a:pt x="5902325" y="3541161"/>
                  <a:pt x="5902325" y="3572245"/>
                </a:cubicBezTo>
                <a:cubicBezTo>
                  <a:pt x="5902325" y="3603330"/>
                  <a:pt x="5875645" y="3634415"/>
                  <a:pt x="5843629" y="3634415"/>
                </a:cubicBezTo>
                <a:cubicBezTo>
                  <a:pt x="5843629" y="3634415"/>
                  <a:pt x="5843629" y="3634415"/>
                  <a:pt x="3159655" y="3634415"/>
                </a:cubicBezTo>
                <a:cubicBezTo>
                  <a:pt x="3127639" y="3634415"/>
                  <a:pt x="3100959" y="3603330"/>
                  <a:pt x="3100959" y="3572245"/>
                </a:cubicBezTo>
                <a:cubicBezTo>
                  <a:pt x="3100959" y="3541161"/>
                  <a:pt x="3127639" y="3510076"/>
                  <a:pt x="3159655" y="3510076"/>
                </a:cubicBezTo>
                <a:cubicBezTo>
                  <a:pt x="3159655" y="3510076"/>
                  <a:pt x="3159655" y="3510076"/>
                  <a:pt x="3335741" y="3510076"/>
                </a:cubicBezTo>
                <a:cubicBezTo>
                  <a:pt x="3335741" y="3510076"/>
                  <a:pt x="3335741" y="3510076"/>
                  <a:pt x="3335741" y="2883939"/>
                </a:cubicBezTo>
                <a:cubicBezTo>
                  <a:pt x="3335741" y="2835091"/>
                  <a:pt x="3383763" y="2799566"/>
                  <a:pt x="3469139" y="2799566"/>
                </a:cubicBezTo>
                <a:cubicBezTo>
                  <a:pt x="3469139" y="2799566"/>
                  <a:pt x="3469139" y="2799566"/>
                  <a:pt x="3506489" y="2799566"/>
                </a:cubicBezTo>
                <a:cubicBezTo>
                  <a:pt x="3586529" y="2799566"/>
                  <a:pt x="3655897" y="2835091"/>
                  <a:pt x="3655897" y="2883939"/>
                </a:cubicBezTo>
                <a:cubicBezTo>
                  <a:pt x="3655897" y="2883939"/>
                  <a:pt x="3655897" y="2883939"/>
                  <a:pt x="3655897" y="3510076"/>
                </a:cubicBezTo>
                <a:cubicBezTo>
                  <a:pt x="3655897" y="3510076"/>
                  <a:pt x="3655897" y="3510076"/>
                  <a:pt x="3997395" y="3510076"/>
                </a:cubicBezTo>
                <a:cubicBezTo>
                  <a:pt x="3997395" y="3510076"/>
                  <a:pt x="3997395" y="3510076"/>
                  <a:pt x="3997395" y="1720478"/>
                </a:cubicBezTo>
                <a:cubicBezTo>
                  <a:pt x="3997395" y="1671631"/>
                  <a:pt x="4066763" y="1627224"/>
                  <a:pt x="4146801" y="1627224"/>
                </a:cubicBezTo>
                <a:close/>
                <a:moveTo>
                  <a:pt x="967641" y="1372687"/>
                </a:moveTo>
                <a:cubicBezTo>
                  <a:pt x="967641" y="1372687"/>
                  <a:pt x="967641" y="1372687"/>
                  <a:pt x="3005373" y="1372687"/>
                </a:cubicBezTo>
                <a:cubicBezTo>
                  <a:pt x="3057511" y="1372687"/>
                  <a:pt x="3100959" y="1406712"/>
                  <a:pt x="3100959" y="1445598"/>
                </a:cubicBezTo>
                <a:cubicBezTo>
                  <a:pt x="3100959" y="1445598"/>
                  <a:pt x="3100959" y="1445598"/>
                  <a:pt x="3100959" y="1465041"/>
                </a:cubicBezTo>
                <a:cubicBezTo>
                  <a:pt x="3100959" y="1503928"/>
                  <a:pt x="3057511" y="1537953"/>
                  <a:pt x="3005373" y="1537953"/>
                </a:cubicBezTo>
                <a:cubicBezTo>
                  <a:pt x="3005373" y="1537953"/>
                  <a:pt x="3005373" y="1537953"/>
                  <a:pt x="967641" y="1537953"/>
                </a:cubicBezTo>
                <a:cubicBezTo>
                  <a:pt x="915503" y="1537953"/>
                  <a:pt x="876399" y="1503928"/>
                  <a:pt x="876399" y="1465041"/>
                </a:cubicBezTo>
                <a:cubicBezTo>
                  <a:pt x="876399" y="1465041"/>
                  <a:pt x="876399" y="1465041"/>
                  <a:pt x="876399" y="1445598"/>
                </a:cubicBezTo>
                <a:cubicBezTo>
                  <a:pt x="876399" y="1406712"/>
                  <a:pt x="915503" y="1372687"/>
                  <a:pt x="967641" y="1372687"/>
                </a:cubicBezTo>
                <a:close/>
                <a:moveTo>
                  <a:pt x="640908" y="1372687"/>
                </a:moveTo>
                <a:cubicBezTo>
                  <a:pt x="687963" y="1372687"/>
                  <a:pt x="726109" y="1409683"/>
                  <a:pt x="726109" y="1455320"/>
                </a:cubicBezTo>
                <a:cubicBezTo>
                  <a:pt x="726109" y="1500957"/>
                  <a:pt x="687963" y="1537953"/>
                  <a:pt x="640908" y="1537953"/>
                </a:cubicBezTo>
                <a:cubicBezTo>
                  <a:pt x="593853" y="1537953"/>
                  <a:pt x="555708" y="1500957"/>
                  <a:pt x="555708" y="1455320"/>
                </a:cubicBezTo>
                <a:cubicBezTo>
                  <a:pt x="555708" y="1409683"/>
                  <a:pt x="593853" y="1372687"/>
                  <a:pt x="640908" y="1372687"/>
                </a:cubicBezTo>
                <a:close/>
                <a:moveTo>
                  <a:pt x="967591" y="1043181"/>
                </a:moveTo>
                <a:cubicBezTo>
                  <a:pt x="967591" y="1043181"/>
                  <a:pt x="967591" y="1043181"/>
                  <a:pt x="2952109" y="1043181"/>
                </a:cubicBezTo>
                <a:cubicBezTo>
                  <a:pt x="3004217" y="1043181"/>
                  <a:pt x="3047643" y="1077206"/>
                  <a:pt x="3047643" y="1116092"/>
                </a:cubicBezTo>
                <a:cubicBezTo>
                  <a:pt x="3047643" y="1116092"/>
                  <a:pt x="3047643" y="1116092"/>
                  <a:pt x="3047643" y="1135535"/>
                </a:cubicBezTo>
                <a:cubicBezTo>
                  <a:pt x="3047643" y="1174422"/>
                  <a:pt x="3004217" y="1208447"/>
                  <a:pt x="2952109" y="1208447"/>
                </a:cubicBezTo>
                <a:cubicBezTo>
                  <a:pt x="2952109" y="1208447"/>
                  <a:pt x="2952109" y="1208447"/>
                  <a:pt x="967591" y="1208447"/>
                </a:cubicBezTo>
                <a:cubicBezTo>
                  <a:pt x="915481" y="1208447"/>
                  <a:pt x="876399" y="1174422"/>
                  <a:pt x="876399" y="1135535"/>
                </a:cubicBezTo>
                <a:cubicBezTo>
                  <a:pt x="876399" y="1135535"/>
                  <a:pt x="876399" y="1135535"/>
                  <a:pt x="876399" y="1116092"/>
                </a:cubicBezTo>
                <a:cubicBezTo>
                  <a:pt x="876399" y="1077206"/>
                  <a:pt x="915481" y="1043181"/>
                  <a:pt x="967591" y="1043181"/>
                </a:cubicBezTo>
                <a:close/>
                <a:moveTo>
                  <a:pt x="640908" y="1043181"/>
                </a:moveTo>
                <a:cubicBezTo>
                  <a:pt x="687963" y="1043181"/>
                  <a:pt x="726109" y="1080177"/>
                  <a:pt x="726109" y="1125814"/>
                </a:cubicBezTo>
                <a:cubicBezTo>
                  <a:pt x="726109" y="1171451"/>
                  <a:pt x="687963" y="1208447"/>
                  <a:pt x="640908" y="1208447"/>
                </a:cubicBezTo>
                <a:cubicBezTo>
                  <a:pt x="593853" y="1208447"/>
                  <a:pt x="555708" y="1171451"/>
                  <a:pt x="555708" y="1125814"/>
                </a:cubicBezTo>
                <a:cubicBezTo>
                  <a:pt x="555708" y="1080177"/>
                  <a:pt x="593853" y="1043181"/>
                  <a:pt x="640908" y="1043181"/>
                </a:cubicBezTo>
                <a:close/>
                <a:moveTo>
                  <a:pt x="324140" y="703848"/>
                </a:moveTo>
                <a:lnTo>
                  <a:pt x="324140" y="4113425"/>
                </a:lnTo>
                <a:lnTo>
                  <a:pt x="6100105" y="4113425"/>
                </a:lnTo>
                <a:lnTo>
                  <a:pt x="6100105" y="703848"/>
                </a:lnTo>
                <a:close/>
                <a:moveTo>
                  <a:pt x="193423" y="0"/>
                </a:moveTo>
                <a:lnTo>
                  <a:pt x="6230823" y="0"/>
                </a:lnTo>
                <a:cubicBezTo>
                  <a:pt x="6337649" y="0"/>
                  <a:pt x="6424245" y="86598"/>
                  <a:pt x="6424245" y="193423"/>
                </a:cubicBezTo>
                <a:lnTo>
                  <a:pt x="6424245" y="4202560"/>
                </a:lnTo>
                <a:cubicBezTo>
                  <a:pt x="6424245" y="4309385"/>
                  <a:pt x="6337649" y="4395983"/>
                  <a:pt x="6230823" y="4395983"/>
                </a:cubicBezTo>
                <a:lnTo>
                  <a:pt x="193423" y="4395983"/>
                </a:lnTo>
                <a:cubicBezTo>
                  <a:pt x="86598" y="4395983"/>
                  <a:pt x="0" y="4309385"/>
                  <a:pt x="0" y="4202560"/>
                </a:cubicBezTo>
                <a:lnTo>
                  <a:pt x="0" y="193423"/>
                </a:lnTo>
                <a:cubicBezTo>
                  <a:pt x="0" y="86598"/>
                  <a:pt x="86598" y="0"/>
                  <a:pt x="19342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362"/>
          <p:cNvSpPr>
            <a:spLocks noChangeAspect="1"/>
          </p:cNvSpPr>
          <p:nvPr/>
        </p:nvSpPr>
        <p:spPr bwMode="auto">
          <a:xfrm rot="19207886">
            <a:off x="5944280" y="2275863"/>
            <a:ext cx="665187" cy="1188720"/>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nvGrpSpPr>
          <p:cNvPr id="3" name="Group 2"/>
          <p:cNvGrpSpPr/>
          <p:nvPr/>
        </p:nvGrpSpPr>
        <p:grpSpPr>
          <a:xfrm>
            <a:off x="797384" y="2724839"/>
            <a:ext cx="1591814" cy="492981"/>
            <a:chOff x="2549163" y="1542688"/>
            <a:chExt cx="2388735" cy="739785"/>
          </a:xfrm>
          <a:solidFill>
            <a:schemeClr val="bg1"/>
          </a:solidFill>
        </p:grpSpPr>
        <p:sp>
          <p:nvSpPr>
            <p:cNvPr id="12" name="Round Same Side Corner Rectangle 11"/>
            <p:cNvSpPr/>
            <p:nvPr/>
          </p:nvSpPr>
          <p:spPr>
            <a:xfrm>
              <a:off x="3040048" y="1542688"/>
              <a:ext cx="998085" cy="721233"/>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rtlCol="0" anchor="ctr"/>
            <a:lstStyle/>
            <a:p>
              <a:pPr algn="ctr" defTabSz="914400">
                <a:defRPr/>
              </a:pPr>
              <a:endParaRPr lang="en-US" sz="1600" kern="0" dirty="0">
                <a:solidFill>
                  <a:srgbClr val="B4A0FF"/>
                </a:solidFill>
                <a:latin typeface="Segoe"/>
              </a:endParaRPr>
            </a:p>
          </p:txBody>
        </p:sp>
        <p:sp>
          <p:nvSpPr>
            <p:cNvPr id="13" name="Rounded Rectangle 223"/>
            <p:cNvSpPr/>
            <p:nvPr/>
          </p:nvSpPr>
          <p:spPr bwMode="auto">
            <a:xfrm>
              <a:off x="2549163" y="1634121"/>
              <a:ext cx="368617" cy="648352"/>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ounded Rectangle 6"/>
            <p:cNvSpPr/>
            <p:nvPr/>
          </p:nvSpPr>
          <p:spPr bwMode="auto">
            <a:xfrm rot="16200000">
              <a:off x="4222719" y="1520282"/>
              <a:ext cx="591629" cy="838729"/>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822953"/>
              <a:endParaRPr lang="en-US" spc="-135" dirty="0">
                <a:gradFill>
                  <a:gsLst>
                    <a:gs pos="0">
                      <a:srgbClr val="FFFFFF"/>
                    </a:gs>
                    <a:gs pos="100000">
                      <a:srgbClr val="FFFFFF"/>
                    </a:gs>
                  </a:gsLst>
                  <a:lin ang="5400000" scaled="0"/>
                </a:gradFill>
                <a:latin typeface="Segoe Light" pitchFamily="34" charset="0"/>
              </a:endParaRPr>
            </a:p>
          </p:txBody>
        </p:sp>
      </p:grpSp>
      <p:grpSp>
        <p:nvGrpSpPr>
          <p:cNvPr id="15" name="Group 14"/>
          <p:cNvGrpSpPr>
            <a:grpSpLocks noChangeAspect="1"/>
          </p:cNvGrpSpPr>
          <p:nvPr/>
        </p:nvGrpSpPr>
        <p:grpSpPr>
          <a:xfrm>
            <a:off x="10310830" y="2397321"/>
            <a:ext cx="848931" cy="1133627"/>
            <a:chOff x="10036997" y="2439550"/>
            <a:chExt cx="436467" cy="582841"/>
          </a:xfrm>
          <a:solidFill>
            <a:schemeClr val="bg1"/>
          </a:solidFill>
        </p:grpSpPr>
        <p:sp>
          <p:nvSpPr>
            <p:cNvPr id="16" name="Freeform 15"/>
            <p:cNvSpPr>
              <a:spLocks noChangeAspect="1"/>
            </p:cNvSpPr>
            <p:nvPr/>
          </p:nvSpPr>
          <p:spPr bwMode="auto">
            <a:xfrm rot="16200000">
              <a:off x="9963810" y="2512737"/>
              <a:ext cx="582841" cy="436467"/>
            </a:xfrm>
            <a:custGeom>
              <a:avLst/>
              <a:gdLst>
                <a:gd name="connsiteX0" fmla="*/ 221728 w 582841"/>
                <a:gd name="connsiteY0" fmla="*/ 360901 h 436467"/>
                <a:gd name="connsiteX1" fmla="*/ 208302 w 582841"/>
                <a:gd name="connsiteY1" fmla="*/ 347475 h 436467"/>
                <a:gd name="connsiteX2" fmla="*/ 64527 w 582841"/>
                <a:gd name="connsiteY2" fmla="*/ 347475 h 436467"/>
                <a:gd name="connsiteX3" fmla="*/ 51101 w 582841"/>
                <a:gd name="connsiteY3" fmla="*/ 360901 h 436467"/>
                <a:gd name="connsiteX4" fmla="*/ 51101 w 582841"/>
                <a:gd name="connsiteY4" fmla="*/ 379768 h 436467"/>
                <a:gd name="connsiteX5" fmla="*/ 64527 w 582841"/>
                <a:gd name="connsiteY5" fmla="*/ 393194 h 436467"/>
                <a:gd name="connsiteX6" fmla="*/ 208302 w 582841"/>
                <a:gd name="connsiteY6" fmla="*/ 393194 h 436467"/>
                <a:gd name="connsiteX7" fmla="*/ 221728 w 582841"/>
                <a:gd name="connsiteY7" fmla="*/ 379768 h 436467"/>
                <a:gd name="connsiteX8" fmla="*/ 447470 w 582841"/>
                <a:gd name="connsiteY8" fmla="*/ 370334 h 436467"/>
                <a:gd name="connsiteX9" fmla="*/ 424610 w 582841"/>
                <a:gd name="connsiteY9" fmla="*/ 347474 h 436467"/>
                <a:gd name="connsiteX10" fmla="*/ 401750 w 582841"/>
                <a:gd name="connsiteY10" fmla="*/ 370334 h 436467"/>
                <a:gd name="connsiteX11" fmla="*/ 424610 w 582841"/>
                <a:gd name="connsiteY11" fmla="*/ 393194 h 436467"/>
                <a:gd name="connsiteX12" fmla="*/ 447470 w 582841"/>
                <a:gd name="connsiteY12" fmla="*/ 370334 h 436467"/>
                <a:gd name="connsiteX13" fmla="*/ 525714 w 582841"/>
                <a:gd name="connsiteY13" fmla="*/ 370334 h 436467"/>
                <a:gd name="connsiteX14" fmla="*/ 502854 w 582841"/>
                <a:gd name="connsiteY14" fmla="*/ 347474 h 436467"/>
                <a:gd name="connsiteX15" fmla="*/ 479994 w 582841"/>
                <a:gd name="connsiteY15" fmla="*/ 370334 h 436467"/>
                <a:gd name="connsiteX16" fmla="*/ 502854 w 582841"/>
                <a:gd name="connsiteY16" fmla="*/ 393194 h 436467"/>
                <a:gd name="connsiteX17" fmla="*/ 525714 w 582841"/>
                <a:gd name="connsiteY17" fmla="*/ 370334 h 436467"/>
                <a:gd name="connsiteX18" fmla="*/ 549490 w 582841"/>
                <a:gd name="connsiteY18" fmla="*/ 38944 h 436467"/>
                <a:gd name="connsiteX19" fmla="*/ 33350 w 582841"/>
                <a:gd name="connsiteY19" fmla="*/ 38944 h 436467"/>
                <a:gd name="connsiteX20" fmla="*/ 33350 w 582841"/>
                <a:gd name="connsiteY20" fmla="*/ 313754 h 436467"/>
                <a:gd name="connsiteX21" fmla="*/ 549490 w 582841"/>
                <a:gd name="connsiteY21" fmla="*/ 313754 h 436467"/>
                <a:gd name="connsiteX22" fmla="*/ 582841 w 582841"/>
                <a:gd name="connsiteY22" fmla="*/ 39441 h 436467"/>
                <a:gd name="connsiteX23" fmla="*/ 582841 w 582841"/>
                <a:gd name="connsiteY23" fmla="*/ 397028 h 436467"/>
                <a:gd name="connsiteX24" fmla="*/ 543402 w 582841"/>
                <a:gd name="connsiteY24" fmla="*/ 436467 h 436467"/>
                <a:gd name="connsiteX25" fmla="*/ 39439 w 582841"/>
                <a:gd name="connsiteY25" fmla="*/ 436467 h 436467"/>
                <a:gd name="connsiteX26" fmla="*/ 0 w 582841"/>
                <a:gd name="connsiteY26" fmla="*/ 397028 h 436467"/>
                <a:gd name="connsiteX27" fmla="*/ 0 w 582841"/>
                <a:gd name="connsiteY27" fmla="*/ 39441 h 436467"/>
                <a:gd name="connsiteX28" fmla="*/ 39439 w 582841"/>
                <a:gd name="connsiteY28" fmla="*/ 0 h 436467"/>
                <a:gd name="connsiteX29" fmla="*/ 543402 w 582841"/>
                <a:gd name="connsiteY29" fmla="*/ 0 h 436467"/>
                <a:gd name="connsiteX30" fmla="*/ 582841 w 582841"/>
                <a:gd name="connsiteY30" fmla="*/ 39441 h 43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82841" h="436467">
                  <a:moveTo>
                    <a:pt x="221728" y="360901"/>
                  </a:moveTo>
                  <a:cubicBezTo>
                    <a:pt x="221728" y="353486"/>
                    <a:pt x="215717" y="347475"/>
                    <a:pt x="208302" y="347475"/>
                  </a:cubicBezTo>
                  <a:lnTo>
                    <a:pt x="64527" y="347475"/>
                  </a:lnTo>
                  <a:cubicBezTo>
                    <a:pt x="57112" y="347475"/>
                    <a:pt x="51101" y="353486"/>
                    <a:pt x="51101" y="360901"/>
                  </a:cubicBezTo>
                  <a:lnTo>
                    <a:pt x="51101" y="379768"/>
                  </a:lnTo>
                  <a:cubicBezTo>
                    <a:pt x="51101" y="387183"/>
                    <a:pt x="57112" y="393194"/>
                    <a:pt x="64527" y="393194"/>
                  </a:cubicBezTo>
                  <a:lnTo>
                    <a:pt x="208302" y="393194"/>
                  </a:lnTo>
                  <a:cubicBezTo>
                    <a:pt x="215717" y="393194"/>
                    <a:pt x="221728" y="387183"/>
                    <a:pt x="221728" y="379768"/>
                  </a:cubicBezTo>
                  <a:close/>
                  <a:moveTo>
                    <a:pt x="447470" y="370334"/>
                  </a:moveTo>
                  <a:cubicBezTo>
                    <a:pt x="447470" y="357709"/>
                    <a:pt x="437235" y="347474"/>
                    <a:pt x="424610" y="347474"/>
                  </a:cubicBezTo>
                  <a:cubicBezTo>
                    <a:pt x="411985" y="347474"/>
                    <a:pt x="401750" y="357709"/>
                    <a:pt x="401750" y="370334"/>
                  </a:cubicBezTo>
                  <a:cubicBezTo>
                    <a:pt x="401750" y="382959"/>
                    <a:pt x="411985" y="393194"/>
                    <a:pt x="424610" y="393194"/>
                  </a:cubicBezTo>
                  <a:cubicBezTo>
                    <a:pt x="437235" y="393194"/>
                    <a:pt x="447470" y="382959"/>
                    <a:pt x="447470" y="370334"/>
                  </a:cubicBezTo>
                  <a:close/>
                  <a:moveTo>
                    <a:pt x="525714" y="370334"/>
                  </a:moveTo>
                  <a:cubicBezTo>
                    <a:pt x="525714" y="357709"/>
                    <a:pt x="515479" y="347474"/>
                    <a:pt x="502854" y="347474"/>
                  </a:cubicBezTo>
                  <a:cubicBezTo>
                    <a:pt x="490229" y="347474"/>
                    <a:pt x="479994" y="357709"/>
                    <a:pt x="479994" y="370334"/>
                  </a:cubicBezTo>
                  <a:cubicBezTo>
                    <a:pt x="479994" y="382959"/>
                    <a:pt x="490229" y="393194"/>
                    <a:pt x="502854" y="393194"/>
                  </a:cubicBezTo>
                  <a:cubicBezTo>
                    <a:pt x="515479" y="393194"/>
                    <a:pt x="525714" y="382959"/>
                    <a:pt x="525714" y="370334"/>
                  </a:cubicBezTo>
                  <a:close/>
                  <a:moveTo>
                    <a:pt x="549490" y="38944"/>
                  </a:moveTo>
                  <a:lnTo>
                    <a:pt x="33350" y="38944"/>
                  </a:lnTo>
                  <a:lnTo>
                    <a:pt x="33350" y="313754"/>
                  </a:lnTo>
                  <a:lnTo>
                    <a:pt x="549490" y="313754"/>
                  </a:lnTo>
                  <a:close/>
                  <a:moveTo>
                    <a:pt x="582841" y="39441"/>
                  </a:moveTo>
                  <a:lnTo>
                    <a:pt x="582841" y="397028"/>
                  </a:lnTo>
                  <a:cubicBezTo>
                    <a:pt x="582841" y="418810"/>
                    <a:pt x="565184" y="436467"/>
                    <a:pt x="543402" y="436467"/>
                  </a:cubicBezTo>
                  <a:lnTo>
                    <a:pt x="39439" y="436467"/>
                  </a:lnTo>
                  <a:cubicBezTo>
                    <a:pt x="17658" y="436467"/>
                    <a:pt x="0" y="418810"/>
                    <a:pt x="0" y="397028"/>
                  </a:cubicBezTo>
                  <a:lnTo>
                    <a:pt x="0" y="39441"/>
                  </a:lnTo>
                  <a:cubicBezTo>
                    <a:pt x="0" y="17659"/>
                    <a:pt x="17658" y="0"/>
                    <a:pt x="39439" y="0"/>
                  </a:cubicBezTo>
                  <a:lnTo>
                    <a:pt x="543402" y="0"/>
                  </a:lnTo>
                  <a:cubicBezTo>
                    <a:pt x="565184" y="0"/>
                    <a:pt x="582841" y="17659"/>
                    <a:pt x="582841" y="3944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0093777" y="2484194"/>
              <a:ext cx="242663" cy="458557"/>
              <a:chOff x="9906038" y="2563229"/>
              <a:chExt cx="203686" cy="384903"/>
            </a:xfrm>
            <a:grpFill/>
          </p:grpSpPr>
          <p:grpSp>
            <p:nvGrpSpPr>
              <p:cNvPr id="18" name="Group 17"/>
              <p:cNvGrpSpPr/>
              <p:nvPr/>
            </p:nvGrpSpPr>
            <p:grpSpPr>
              <a:xfrm>
                <a:off x="10025141" y="2807959"/>
                <a:ext cx="84583" cy="51677"/>
                <a:chOff x="10495146" y="2518585"/>
                <a:chExt cx="329564" cy="201352"/>
              </a:xfrm>
              <a:grpFill/>
            </p:grpSpPr>
            <p:sp>
              <p:nvSpPr>
                <p:cNvPr id="44" name="Freeform 86"/>
                <p:cNvSpPr>
                  <a:spLocks/>
                </p:cNvSpPr>
                <p:nvPr/>
              </p:nvSpPr>
              <p:spPr bwMode="gray">
                <a:xfrm>
                  <a:off x="10532691" y="2589305"/>
                  <a:ext cx="54611" cy="102220"/>
                </a:xfrm>
                <a:custGeom>
                  <a:avLst/>
                  <a:gdLst>
                    <a:gd name="T0" fmla="*/ 0 w 61"/>
                    <a:gd name="T1" fmla="*/ 139 h 140"/>
                    <a:gd name="T2" fmla="*/ 1 w 61"/>
                    <a:gd name="T3" fmla="*/ 140 h 140"/>
                    <a:gd name="T4" fmla="*/ 61 w 61"/>
                    <a:gd name="T5" fmla="*/ 56 h 140"/>
                    <a:gd name="T6" fmla="*/ 35 w 61"/>
                    <a:gd name="T7" fmla="*/ 0 h 140"/>
                    <a:gd name="T8" fmla="*/ 0 w 61"/>
                    <a:gd name="T9" fmla="*/ 139 h 140"/>
                  </a:gdLst>
                  <a:ahLst/>
                  <a:cxnLst>
                    <a:cxn ang="0">
                      <a:pos x="T0" y="T1"/>
                    </a:cxn>
                    <a:cxn ang="0">
                      <a:pos x="T2" y="T3"/>
                    </a:cxn>
                    <a:cxn ang="0">
                      <a:pos x="T4" y="T5"/>
                    </a:cxn>
                    <a:cxn ang="0">
                      <a:pos x="T6" y="T7"/>
                    </a:cxn>
                    <a:cxn ang="0">
                      <a:pos x="T8" y="T9"/>
                    </a:cxn>
                  </a:cxnLst>
                  <a:rect l="0" t="0" r="r" b="b"/>
                  <a:pathLst>
                    <a:path w="61" h="140">
                      <a:moveTo>
                        <a:pt x="0" y="139"/>
                      </a:moveTo>
                      <a:cubicBezTo>
                        <a:pt x="0" y="139"/>
                        <a:pt x="1" y="139"/>
                        <a:pt x="1" y="140"/>
                      </a:cubicBezTo>
                      <a:cubicBezTo>
                        <a:pt x="61" y="56"/>
                        <a:pt x="61" y="56"/>
                        <a:pt x="61" y="56"/>
                      </a:cubicBezTo>
                      <a:cubicBezTo>
                        <a:pt x="35" y="0"/>
                        <a:pt x="35" y="0"/>
                        <a:pt x="35" y="0"/>
                      </a:cubicBezTo>
                      <a:lnTo>
                        <a:pt x="0"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45" name="Freeform 87"/>
                <p:cNvSpPr>
                  <a:spLocks/>
                </p:cNvSpPr>
                <p:nvPr/>
              </p:nvSpPr>
              <p:spPr bwMode="gray">
                <a:xfrm>
                  <a:off x="10595267" y="2619879"/>
                  <a:ext cx="30719" cy="43852"/>
                </a:xfrm>
                <a:custGeom>
                  <a:avLst/>
                  <a:gdLst>
                    <a:gd name="T0" fmla="*/ 0 w 81"/>
                    <a:gd name="T1" fmla="*/ 33 h 142"/>
                    <a:gd name="T2" fmla="*/ 50 w 81"/>
                    <a:gd name="T3" fmla="*/ 142 h 142"/>
                    <a:gd name="T4" fmla="*/ 81 w 81"/>
                    <a:gd name="T5" fmla="*/ 78 h 142"/>
                    <a:gd name="T6" fmla="*/ 24 w 81"/>
                    <a:gd name="T7" fmla="*/ 0 h 142"/>
                    <a:gd name="T8" fmla="*/ 0 w 81"/>
                    <a:gd name="T9" fmla="*/ 33 h 142"/>
                  </a:gdLst>
                  <a:ahLst/>
                  <a:cxnLst>
                    <a:cxn ang="0">
                      <a:pos x="T0" y="T1"/>
                    </a:cxn>
                    <a:cxn ang="0">
                      <a:pos x="T2" y="T3"/>
                    </a:cxn>
                    <a:cxn ang="0">
                      <a:pos x="T4" y="T5"/>
                    </a:cxn>
                    <a:cxn ang="0">
                      <a:pos x="T6" y="T7"/>
                    </a:cxn>
                    <a:cxn ang="0">
                      <a:pos x="T8" y="T9"/>
                    </a:cxn>
                  </a:cxnLst>
                  <a:rect l="0" t="0" r="r" b="b"/>
                  <a:pathLst>
                    <a:path w="81" h="142">
                      <a:moveTo>
                        <a:pt x="0" y="33"/>
                      </a:moveTo>
                      <a:lnTo>
                        <a:pt x="50" y="142"/>
                      </a:lnTo>
                      <a:lnTo>
                        <a:pt x="81" y="78"/>
                      </a:lnTo>
                      <a:lnTo>
                        <a:pt x="24"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46" name="Freeform 88"/>
                <p:cNvSpPr>
                  <a:spLocks noEditPoints="1"/>
                </p:cNvSpPr>
                <p:nvPr/>
              </p:nvSpPr>
              <p:spPr bwMode="gray">
                <a:xfrm>
                  <a:off x="10495146" y="2518585"/>
                  <a:ext cx="329564" cy="201352"/>
                </a:xfrm>
                <a:custGeom>
                  <a:avLst/>
                  <a:gdLst>
                    <a:gd name="T0" fmla="*/ 360 w 368"/>
                    <a:gd name="T1" fmla="*/ 0 h 276"/>
                    <a:gd name="T2" fmla="*/ 8 w 368"/>
                    <a:gd name="T3" fmla="*/ 0 h 276"/>
                    <a:gd name="T4" fmla="*/ 0 w 368"/>
                    <a:gd name="T5" fmla="*/ 8 h 276"/>
                    <a:gd name="T6" fmla="*/ 0 w 368"/>
                    <a:gd name="T7" fmla="*/ 268 h 276"/>
                    <a:gd name="T8" fmla="*/ 8 w 368"/>
                    <a:gd name="T9" fmla="*/ 276 h 276"/>
                    <a:gd name="T10" fmla="*/ 360 w 368"/>
                    <a:gd name="T11" fmla="*/ 276 h 276"/>
                    <a:gd name="T12" fmla="*/ 368 w 368"/>
                    <a:gd name="T13" fmla="*/ 268 h 276"/>
                    <a:gd name="T14" fmla="*/ 368 w 368"/>
                    <a:gd name="T15" fmla="*/ 8 h 276"/>
                    <a:gd name="T16" fmla="*/ 360 w 368"/>
                    <a:gd name="T17" fmla="*/ 0 h 276"/>
                    <a:gd name="T18" fmla="*/ 323 w 368"/>
                    <a:gd name="T19" fmla="*/ 159 h 276"/>
                    <a:gd name="T20" fmla="*/ 318 w 368"/>
                    <a:gd name="T21" fmla="*/ 158 h 276"/>
                    <a:gd name="T22" fmla="*/ 274 w 368"/>
                    <a:gd name="T23" fmla="*/ 204 h 276"/>
                    <a:gd name="T24" fmla="*/ 247 w 368"/>
                    <a:gd name="T25" fmla="*/ 169 h 276"/>
                    <a:gd name="T26" fmla="*/ 173 w 368"/>
                    <a:gd name="T27" fmla="*/ 210 h 276"/>
                    <a:gd name="T28" fmla="*/ 151 w 368"/>
                    <a:gd name="T29" fmla="*/ 180 h 276"/>
                    <a:gd name="T30" fmla="*/ 133 w 368"/>
                    <a:gd name="T31" fmla="*/ 218 h 276"/>
                    <a:gd name="T32" fmla="*/ 107 w 368"/>
                    <a:gd name="T33" fmla="*/ 161 h 276"/>
                    <a:gd name="T34" fmla="*/ 47 w 368"/>
                    <a:gd name="T35" fmla="*/ 245 h 276"/>
                    <a:gd name="T36" fmla="*/ 47 w 368"/>
                    <a:gd name="T37" fmla="*/ 246 h 276"/>
                    <a:gd name="T38" fmla="*/ 35 w 368"/>
                    <a:gd name="T39" fmla="*/ 259 h 276"/>
                    <a:gd name="T40" fmla="*/ 22 w 368"/>
                    <a:gd name="T41" fmla="*/ 246 h 276"/>
                    <a:gd name="T42" fmla="*/ 34 w 368"/>
                    <a:gd name="T43" fmla="*/ 233 h 276"/>
                    <a:gd name="T44" fmla="*/ 75 w 368"/>
                    <a:gd name="T45" fmla="*/ 73 h 276"/>
                    <a:gd name="T46" fmla="*/ 108 w 368"/>
                    <a:gd name="T47" fmla="*/ 145 h 276"/>
                    <a:gd name="T48" fmla="*/ 122 w 368"/>
                    <a:gd name="T49" fmla="*/ 125 h 276"/>
                    <a:gd name="T50" fmla="*/ 150 w 368"/>
                    <a:gd name="T51" fmla="*/ 164 h 276"/>
                    <a:gd name="T52" fmla="*/ 188 w 368"/>
                    <a:gd name="T53" fmla="*/ 86 h 276"/>
                    <a:gd name="T54" fmla="*/ 247 w 368"/>
                    <a:gd name="T55" fmla="*/ 106 h 276"/>
                    <a:gd name="T56" fmla="*/ 299 w 368"/>
                    <a:gd name="T57" fmla="*/ 41 h 276"/>
                    <a:gd name="T58" fmla="*/ 298 w 368"/>
                    <a:gd name="T59" fmla="*/ 34 h 276"/>
                    <a:gd name="T60" fmla="*/ 310 w 368"/>
                    <a:gd name="T61" fmla="*/ 22 h 276"/>
                    <a:gd name="T62" fmla="*/ 323 w 368"/>
                    <a:gd name="T63" fmla="*/ 34 h 276"/>
                    <a:gd name="T64" fmla="*/ 310 w 368"/>
                    <a:gd name="T65" fmla="*/ 47 h 276"/>
                    <a:gd name="T66" fmla="*/ 305 w 368"/>
                    <a:gd name="T67" fmla="*/ 46 h 276"/>
                    <a:gd name="T68" fmla="*/ 250 w 368"/>
                    <a:gd name="T69" fmla="*/ 116 h 276"/>
                    <a:gd name="T70" fmla="*/ 192 w 368"/>
                    <a:gd name="T71" fmla="*/ 96 h 276"/>
                    <a:gd name="T72" fmla="*/ 155 w 368"/>
                    <a:gd name="T73" fmla="*/ 172 h 276"/>
                    <a:gd name="T74" fmla="*/ 175 w 368"/>
                    <a:gd name="T75" fmla="*/ 200 h 276"/>
                    <a:gd name="T76" fmla="*/ 249 w 368"/>
                    <a:gd name="T77" fmla="*/ 159 h 276"/>
                    <a:gd name="T78" fmla="*/ 274 w 368"/>
                    <a:gd name="T79" fmla="*/ 191 h 276"/>
                    <a:gd name="T80" fmla="*/ 312 w 368"/>
                    <a:gd name="T81" fmla="*/ 153 h 276"/>
                    <a:gd name="T82" fmla="*/ 311 w 368"/>
                    <a:gd name="T83" fmla="*/ 147 h 276"/>
                    <a:gd name="T84" fmla="*/ 323 w 368"/>
                    <a:gd name="T85" fmla="*/ 134 h 276"/>
                    <a:gd name="T86" fmla="*/ 336 w 368"/>
                    <a:gd name="T87" fmla="*/ 147 h 276"/>
                    <a:gd name="T88" fmla="*/ 323 w 368"/>
                    <a:gd name="T89" fmla="*/ 15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8" h="276">
                      <a:moveTo>
                        <a:pt x="360" y="0"/>
                      </a:moveTo>
                      <a:cubicBezTo>
                        <a:pt x="8" y="0"/>
                        <a:pt x="8" y="0"/>
                        <a:pt x="8" y="0"/>
                      </a:cubicBezTo>
                      <a:cubicBezTo>
                        <a:pt x="4" y="0"/>
                        <a:pt x="0" y="4"/>
                        <a:pt x="0" y="8"/>
                      </a:cubicBezTo>
                      <a:cubicBezTo>
                        <a:pt x="0" y="268"/>
                        <a:pt x="0" y="268"/>
                        <a:pt x="0" y="268"/>
                      </a:cubicBezTo>
                      <a:cubicBezTo>
                        <a:pt x="0" y="272"/>
                        <a:pt x="4" y="276"/>
                        <a:pt x="8" y="276"/>
                      </a:cubicBezTo>
                      <a:cubicBezTo>
                        <a:pt x="360" y="276"/>
                        <a:pt x="360" y="276"/>
                        <a:pt x="360" y="276"/>
                      </a:cubicBezTo>
                      <a:cubicBezTo>
                        <a:pt x="364" y="276"/>
                        <a:pt x="368" y="272"/>
                        <a:pt x="368" y="268"/>
                      </a:cubicBezTo>
                      <a:cubicBezTo>
                        <a:pt x="368" y="8"/>
                        <a:pt x="368" y="8"/>
                        <a:pt x="368" y="8"/>
                      </a:cubicBezTo>
                      <a:cubicBezTo>
                        <a:pt x="368" y="4"/>
                        <a:pt x="364" y="0"/>
                        <a:pt x="360" y="0"/>
                      </a:cubicBezTo>
                      <a:close/>
                      <a:moveTo>
                        <a:pt x="323" y="159"/>
                      </a:moveTo>
                      <a:cubicBezTo>
                        <a:pt x="322" y="159"/>
                        <a:pt x="320" y="159"/>
                        <a:pt x="318" y="158"/>
                      </a:cubicBezTo>
                      <a:cubicBezTo>
                        <a:pt x="274" y="204"/>
                        <a:pt x="274" y="204"/>
                        <a:pt x="274" y="204"/>
                      </a:cubicBezTo>
                      <a:cubicBezTo>
                        <a:pt x="247" y="169"/>
                        <a:pt x="247" y="169"/>
                        <a:pt x="247" y="169"/>
                      </a:cubicBezTo>
                      <a:cubicBezTo>
                        <a:pt x="173" y="210"/>
                        <a:pt x="173" y="210"/>
                        <a:pt x="173" y="210"/>
                      </a:cubicBezTo>
                      <a:cubicBezTo>
                        <a:pt x="151" y="180"/>
                        <a:pt x="151" y="180"/>
                        <a:pt x="151" y="180"/>
                      </a:cubicBezTo>
                      <a:cubicBezTo>
                        <a:pt x="133" y="218"/>
                        <a:pt x="133" y="218"/>
                        <a:pt x="133" y="218"/>
                      </a:cubicBezTo>
                      <a:cubicBezTo>
                        <a:pt x="107" y="161"/>
                        <a:pt x="107" y="161"/>
                        <a:pt x="107" y="161"/>
                      </a:cubicBezTo>
                      <a:cubicBezTo>
                        <a:pt x="47" y="245"/>
                        <a:pt x="47" y="245"/>
                        <a:pt x="47" y="245"/>
                      </a:cubicBezTo>
                      <a:cubicBezTo>
                        <a:pt x="47" y="245"/>
                        <a:pt x="47" y="246"/>
                        <a:pt x="47" y="246"/>
                      </a:cubicBezTo>
                      <a:cubicBezTo>
                        <a:pt x="47" y="253"/>
                        <a:pt x="42" y="259"/>
                        <a:pt x="35" y="259"/>
                      </a:cubicBezTo>
                      <a:cubicBezTo>
                        <a:pt x="28" y="259"/>
                        <a:pt x="22" y="253"/>
                        <a:pt x="22" y="246"/>
                      </a:cubicBezTo>
                      <a:cubicBezTo>
                        <a:pt x="22" y="239"/>
                        <a:pt x="27" y="234"/>
                        <a:pt x="34" y="233"/>
                      </a:cubicBezTo>
                      <a:cubicBezTo>
                        <a:pt x="75" y="73"/>
                        <a:pt x="75" y="73"/>
                        <a:pt x="75" y="73"/>
                      </a:cubicBezTo>
                      <a:cubicBezTo>
                        <a:pt x="108" y="145"/>
                        <a:pt x="108" y="145"/>
                        <a:pt x="108" y="145"/>
                      </a:cubicBezTo>
                      <a:cubicBezTo>
                        <a:pt x="122" y="125"/>
                        <a:pt x="122" y="125"/>
                        <a:pt x="122" y="125"/>
                      </a:cubicBezTo>
                      <a:cubicBezTo>
                        <a:pt x="150" y="164"/>
                        <a:pt x="150" y="164"/>
                        <a:pt x="150" y="164"/>
                      </a:cubicBezTo>
                      <a:cubicBezTo>
                        <a:pt x="188" y="86"/>
                        <a:pt x="188" y="86"/>
                        <a:pt x="188" y="86"/>
                      </a:cubicBezTo>
                      <a:cubicBezTo>
                        <a:pt x="247" y="106"/>
                        <a:pt x="247" y="106"/>
                        <a:pt x="247" y="106"/>
                      </a:cubicBezTo>
                      <a:cubicBezTo>
                        <a:pt x="299" y="41"/>
                        <a:pt x="299" y="41"/>
                        <a:pt x="299" y="41"/>
                      </a:cubicBezTo>
                      <a:cubicBezTo>
                        <a:pt x="298" y="39"/>
                        <a:pt x="298" y="37"/>
                        <a:pt x="298" y="34"/>
                      </a:cubicBezTo>
                      <a:cubicBezTo>
                        <a:pt x="298" y="27"/>
                        <a:pt x="303" y="22"/>
                        <a:pt x="310" y="22"/>
                      </a:cubicBezTo>
                      <a:cubicBezTo>
                        <a:pt x="317" y="22"/>
                        <a:pt x="323" y="27"/>
                        <a:pt x="323" y="34"/>
                      </a:cubicBezTo>
                      <a:cubicBezTo>
                        <a:pt x="323" y="41"/>
                        <a:pt x="317" y="47"/>
                        <a:pt x="310" y="47"/>
                      </a:cubicBezTo>
                      <a:cubicBezTo>
                        <a:pt x="309" y="47"/>
                        <a:pt x="307" y="46"/>
                        <a:pt x="305" y="46"/>
                      </a:cubicBezTo>
                      <a:cubicBezTo>
                        <a:pt x="250" y="116"/>
                        <a:pt x="250" y="116"/>
                        <a:pt x="250" y="116"/>
                      </a:cubicBezTo>
                      <a:cubicBezTo>
                        <a:pt x="192" y="96"/>
                        <a:pt x="192" y="96"/>
                        <a:pt x="192" y="96"/>
                      </a:cubicBezTo>
                      <a:cubicBezTo>
                        <a:pt x="155" y="172"/>
                        <a:pt x="155" y="172"/>
                        <a:pt x="155" y="172"/>
                      </a:cubicBezTo>
                      <a:cubicBezTo>
                        <a:pt x="175" y="200"/>
                        <a:pt x="175" y="200"/>
                        <a:pt x="175" y="200"/>
                      </a:cubicBezTo>
                      <a:cubicBezTo>
                        <a:pt x="249" y="159"/>
                        <a:pt x="249" y="159"/>
                        <a:pt x="249" y="159"/>
                      </a:cubicBezTo>
                      <a:cubicBezTo>
                        <a:pt x="274" y="191"/>
                        <a:pt x="274" y="191"/>
                        <a:pt x="274" y="191"/>
                      </a:cubicBezTo>
                      <a:cubicBezTo>
                        <a:pt x="312" y="153"/>
                        <a:pt x="312" y="153"/>
                        <a:pt x="312" y="153"/>
                      </a:cubicBezTo>
                      <a:cubicBezTo>
                        <a:pt x="311" y="151"/>
                        <a:pt x="311" y="149"/>
                        <a:pt x="311" y="147"/>
                      </a:cubicBezTo>
                      <a:cubicBezTo>
                        <a:pt x="311" y="140"/>
                        <a:pt x="316" y="134"/>
                        <a:pt x="323" y="134"/>
                      </a:cubicBezTo>
                      <a:cubicBezTo>
                        <a:pt x="330" y="134"/>
                        <a:pt x="336" y="140"/>
                        <a:pt x="336" y="147"/>
                      </a:cubicBezTo>
                      <a:cubicBezTo>
                        <a:pt x="336" y="154"/>
                        <a:pt x="330" y="159"/>
                        <a:pt x="323"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sp>
            <p:nvSpPr>
              <p:cNvPr id="19" name="Freeform 18"/>
              <p:cNvSpPr>
                <a:spLocks/>
              </p:cNvSpPr>
              <p:nvPr/>
            </p:nvSpPr>
            <p:spPr bwMode="gray">
              <a:xfrm>
                <a:off x="9910246" y="2902413"/>
                <a:ext cx="199478" cy="45719"/>
              </a:xfrm>
              <a:custGeom>
                <a:avLst/>
                <a:gdLst>
                  <a:gd name="connsiteX0" fmla="*/ 4475 w 146768"/>
                  <a:gd name="connsiteY0" fmla="*/ 87705 h 96352"/>
                  <a:gd name="connsiteX1" fmla="*/ 142293 w 146768"/>
                  <a:gd name="connsiteY1" fmla="*/ 87705 h 96352"/>
                  <a:gd name="connsiteX2" fmla="*/ 146768 w 146768"/>
                  <a:gd name="connsiteY2" fmla="*/ 91308 h 96352"/>
                  <a:gd name="connsiteX3" fmla="*/ 146768 w 146768"/>
                  <a:gd name="connsiteY3" fmla="*/ 92749 h 96352"/>
                  <a:gd name="connsiteX4" fmla="*/ 142293 w 146768"/>
                  <a:gd name="connsiteY4" fmla="*/ 96352 h 96352"/>
                  <a:gd name="connsiteX5" fmla="*/ 4475 w 146768"/>
                  <a:gd name="connsiteY5" fmla="*/ 96352 h 96352"/>
                  <a:gd name="connsiteX6" fmla="*/ 0 w 146768"/>
                  <a:gd name="connsiteY6" fmla="*/ 92749 h 96352"/>
                  <a:gd name="connsiteX7" fmla="*/ 0 w 146768"/>
                  <a:gd name="connsiteY7" fmla="*/ 91308 h 96352"/>
                  <a:gd name="connsiteX8" fmla="*/ 4475 w 146768"/>
                  <a:gd name="connsiteY8" fmla="*/ 87705 h 96352"/>
                  <a:gd name="connsiteX9" fmla="*/ 4475 w 146768"/>
                  <a:gd name="connsiteY9" fmla="*/ 58367 h 96352"/>
                  <a:gd name="connsiteX10" fmla="*/ 142293 w 146768"/>
                  <a:gd name="connsiteY10" fmla="*/ 58367 h 96352"/>
                  <a:gd name="connsiteX11" fmla="*/ 146768 w 146768"/>
                  <a:gd name="connsiteY11" fmla="*/ 62099 h 96352"/>
                  <a:gd name="connsiteX12" fmla="*/ 146768 w 146768"/>
                  <a:gd name="connsiteY12" fmla="*/ 63591 h 96352"/>
                  <a:gd name="connsiteX13" fmla="*/ 142293 w 146768"/>
                  <a:gd name="connsiteY13" fmla="*/ 67323 h 96352"/>
                  <a:gd name="connsiteX14" fmla="*/ 4475 w 146768"/>
                  <a:gd name="connsiteY14" fmla="*/ 67323 h 96352"/>
                  <a:gd name="connsiteX15" fmla="*/ 0 w 146768"/>
                  <a:gd name="connsiteY15" fmla="*/ 63591 h 96352"/>
                  <a:gd name="connsiteX16" fmla="*/ 0 w 146768"/>
                  <a:gd name="connsiteY16" fmla="*/ 62099 h 96352"/>
                  <a:gd name="connsiteX17" fmla="*/ 4475 w 146768"/>
                  <a:gd name="connsiteY17" fmla="*/ 58367 h 96352"/>
                  <a:gd name="connsiteX18" fmla="*/ 4475 w 146768"/>
                  <a:gd name="connsiteY18" fmla="*/ 29338 h 96352"/>
                  <a:gd name="connsiteX19" fmla="*/ 142293 w 146768"/>
                  <a:gd name="connsiteY19" fmla="*/ 29338 h 96352"/>
                  <a:gd name="connsiteX20" fmla="*/ 146768 w 146768"/>
                  <a:gd name="connsiteY20" fmla="*/ 32941 h 96352"/>
                  <a:gd name="connsiteX21" fmla="*/ 146768 w 146768"/>
                  <a:gd name="connsiteY21" fmla="*/ 34382 h 96352"/>
                  <a:gd name="connsiteX22" fmla="*/ 142293 w 146768"/>
                  <a:gd name="connsiteY22" fmla="*/ 37985 h 96352"/>
                  <a:gd name="connsiteX23" fmla="*/ 4475 w 146768"/>
                  <a:gd name="connsiteY23" fmla="*/ 37985 h 96352"/>
                  <a:gd name="connsiteX24" fmla="*/ 0 w 146768"/>
                  <a:gd name="connsiteY24" fmla="*/ 34382 h 96352"/>
                  <a:gd name="connsiteX25" fmla="*/ 0 w 146768"/>
                  <a:gd name="connsiteY25" fmla="*/ 32941 h 96352"/>
                  <a:gd name="connsiteX26" fmla="*/ 4475 w 146768"/>
                  <a:gd name="connsiteY26" fmla="*/ 29338 h 96352"/>
                  <a:gd name="connsiteX27" fmla="*/ 4475 w 146768"/>
                  <a:gd name="connsiteY27" fmla="*/ 0 h 96352"/>
                  <a:gd name="connsiteX28" fmla="*/ 142293 w 146768"/>
                  <a:gd name="connsiteY28" fmla="*/ 0 h 96352"/>
                  <a:gd name="connsiteX29" fmla="*/ 146768 w 146768"/>
                  <a:gd name="connsiteY29" fmla="*/ 3732 h 96352"/>
                  <a:gd name="connsiteX30" fmla="*/ 146768 w 146768"/>
                  <a:gd name="connsiteY30" fmla="*/ 5224 h 96352"/>
                  <a:gd name="connsiteX31" fmla="*/ 142293 w 146768"/>
                  <a:gd name="connsiteY31" fmla="*/ 8956 h 96352"/>
                  <a:gd name="connsiteX32" fmla="*/ 4475 w 146768"/>
                  <a:gd name="connsiteY32" fmla="*/ 8956 h 96352"/>
                  <a:gd name="connsiteX33" fmla="*/ 0 w 146768"/>
                  <a:gd name="connsiteY33" fmla="*/ 5224 h 96352"/>
                  <a:gd name="connsiteX34" fmla="*/ 0 w 146768"/>
                  <a:gd name="connsiteY34" fmla="*/ 3732 h 96352"/>
                  <a:gd name="connsiteX35" fmla="*/ 4475 w 146768"/>
                  <a:gd name="connsiteY35" fmla="*/ 0 h 9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6768" h="96352">
                    <a:moveTo>
                      <a:pt x="4475" y="87705"/>
                    </a:moveTo>
                    <a:cubicBezTo>
                      <a:pt x="4475" y="87705"/>
                      <a:pt x="4475" y="87705"/>
                      <a:pt x="142293" y="87705"/>
                    </a:cubicBezTo>
                    <a:cubicBezTo>
                      <a:pt x="144978" y="87705"/>
                      <a:pt x="146768" y="89146"/>
                      <a:pt x="146768" y="91308"/>
                    </a:cubicBezTo>
                    <a:cubicBezTo>
                      <a:pt x="146768" y="91308"/>
                      <a:pt x="146768" y="91308"/>
                      <a:pt x="146768" y="92749"/>
                    </a:cubicBezTo>
                    <a:cubicBezTo>
                      <a:pt x="146768" y="94911"/>
                      <a:pt x="144978" y="96352"/>
                      <a:pt x="142293" y="96352"/>
                    </a:cubicBezTo>
                    <a:cubicBezTo>
                      <a:pt x="142293" y="96352"/>
                      <a:pt x="142293" y="96352"/>
                      <a:pt x="4475" y="96352"/>
                    </a:cubicBezTo>
                    <a:cubicBezTo>
                      <a:pt x="1790" y="96352"/>
                      <a:pt x="0" y="94911"/>
                      <a:pt x="0" y="92749"/>
                    </a:cubicBezTo>
                    <a:cubicBezTo>
                      <a:pt x="0" y="92749"/>
                      <a:pt x="0" y="92749"/>
                      <a:pt x="0" y="91308"/>
                    </a:cubicBezTo>
                    <a:cubicBezTo>
                      <a:pt x="0" y="89146"/>
                      <a:pt x="1790" y="87705"/>
                      <a:pt x="4475" y="87705"/>
                    </a:cubicBezTo>
                    <a:close/>
                    <a:moveTo>
                      <a:pt x="4475" y="58367"/>
                    </a:moveTo>
                    <a:cubicBezTo>
                      <a:pt x="4475" y="58367"/>
                      <a:pt x="4475" y="58367"/>
                      <a:pt x="142293" y="58367"/>
                    </a:cubicBezTo>
                    <a:cubicBezTo>
                      <a:pt x="144978" y="58367"/>
                      <a:pt x="146768" y="59860"/>
                      <a:pt x="146768" y="62099"/>
                    </a:cubicBezTo>
                    <a:cubicBezTo>
                      <a:pt x="146768" y="62099"/>
                      <a:pt x="146768" y="62099"/>
                      <a:pt x="146768" y="63591"/>
                    </a:cubicBezTo>
                    <a:cubicBezTo>
                      <a:pt x="146768" y="65830"/>
                      <a:pt x="144978" y="67323"/>
                      <a:pt x="142293" y="67323"/>
                    </a:cubicBezTo>
                    <a:cubicBezTo>
                      <a:pt x="142293" y="67323"/>
                      <a:pt x="142293" y="67323"/>
                      <a:pt x="4475" y="67323"/>
                    </a:cubicBezTo>
                    <a:cubicBezTo>
                      <a:pt x="1790" y="67323"/>
                      <a:pt x="0" y="65830"/>
                      <a:pt x="0" y="63591"/>
                    </a:cubicBezTo>
                    <a:cubicBezTo>
                      <a:pt x="0" y="63591"/>
                      <a:pt x="0" y="63591"/>
                      <a:pt x="0" y="62099"/>
                    </a:cubicBezTo>
                    <a:cubicBezTo>
                      <a:pt x="0" y="59860"/>
                      <a:pt x="1790" y="58367"/>
                      <a:pt x="4475" y="58367"/>
                    </a:cubicBezTo>
                    <a:close/>
                    <a:moveTo>
                      <a:pt x="4475" y="29338"/>
                    </a:moveTo>
                    <a:cubicBezTo>
                      <a:pt x="4475" y="29338"/>
                      <a:pt x="4475" y="29338"/>
                      <a:pt x="142293" y="29338"/>
                    </a:cubicBezTo>
                    <a:cubicBezTo>
                      <a:pt x="144978" y="29338"/>
                      <a:pt x="146768" y="30779"/>
                      <a:pt x="146768" y="32941"/>
                    </a:cubicBezTo>
                    <a:cubicBezTo>
                      <a:pt x="146768" y="32941"/>
                      <a:pt x="146768" y="32941"/>
                      <a:pt x="146768" y="34382"/>
                    </a:cubicBezTo>
                    <a:cubicBezTo>
                      <a:pt x="146768" y="36544"/>
                      <a:pt x="144978" y="37985"/>
                      <a:pt x="142293" y="37985"/>
                    </a:cubicBezTo>
                    <a:cubicBezTo>
                      <a:pt x="142293" y="37985"/>
                      <a:pt x="142293" y="37985"/>
                      <a:pt x="4475" y="37985"/>
                    </a:cubicBezTo>
                    <a:cubicBezTo>
                      <a:pt x="1790" y="37985"/>
                      <a:pt x="0" y="36544"/>
                      <a:pt x="0" y="34382"/>
                    </a:cubicBezTo>
                    <a:cubicBezTo>
                      <a:pt x="0" y="34382"/>
                      <a:pt x="0" y="34382"/>
                      <a:pt x="0" y="32941"/>
                    </a:cubicBezTo>
                    <a:cubicBezTo>
                      <a:pt x="0" y="30779"/>
                      <a:pt x="1790" y="29338"/>
                      <a:pt x="4475" y="29338"/>
                    </a:cubicBezTo>
                    <a:close/>
                    <a:moveTo>
                      <a:pt x="4475" y="0"/>
                    </a:moveTo>
                    <a:cubicBezTo>
                      <a:pt x="4475" y="0"/>
                      <a:pt x="4475" y="0"/>
                      <a:pt x="142293" y="0"/>
                    </a:cubicBezTo>
                    <a:cubicBezTo>
                      <a:pt x="144978" y="0"/>
                      <a:pt x="146768" y="1493"/>
                      <a:pt x="146768" y="3732"/>
                    </a:cubicBezTo>
                    <a:cubicBezTo>
                      <a:pt x="146768" y="3732"/>
                      <a:pt x="146768" y="3732"/>
                      <a:pt x="146768" y="5224"/>
                    </a:cubicBezTo>
                    <a:cubicBezTo>
                      <a:pt x="146768" y="7463"/>
                      <a:pt x="144978" y="8956"/>
                      <a:pt x="142293" y="8956"/>
                    </a:cubicBezTo>
                    <a:cubicBezTo>
                      <a:pt x="142293" y="8956"/>
                      <a:pt x="142293" y="8956"/>
                      <a:pt x="4475" y="8956"/>
                    </a:cubicBezTo>
                    <a:cubicBezTo>
                      <a:pt x="1790" y="8956"/>
                      <a:pt x="0" y="7463"/>
                      <a:pt x="0" y="5224"/>
                    </a:cubicBezTo>
                    <a:cubicBezTo>
                      <a:pt x="0" y="5224"/>
                      <a:pt x="0" y="5224"/>
                      <a:pt x="0" y="3732"/>
                    </a:cubicBezTo>
                    <a:cubicBezTo>
                      <a:pt x="0" y="1493"/>
                      <a:pt x="1790" y="0"/>
                      <a:pt x="44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600" dirty="0">
                  <a:solidFill>
                    <a:srgbClr val="404040"/>
                  </a:solidFill>
                </a:endParaRPr>
              </a:p>
            </p:txBody>
          </p:sp>
          <p:sp>
            <p:nvSpPr>
              <p:cNvPr id="20" name="LOAD METER"/>
              <p:cNvSpPr>
                <a:spLocks noChangeAspect="1"/>
              </p:cNvSpPr>
              <p:nvPr/>
            </p:nvSpPr>
            <p:spPr bwMode="auto">
              <a:xfrm rot="1919497">
                <a:off x="9958928" y="2563229"/>
                <a:ext cx="107627" cy="91440"/>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20"/>
              <p:cNvGrpSpPr/>
              <p:nvPr/>
            </p:nvGrpSpPr>
            <p:grpSpPr>
              <a:xfrm>
                <a:off x="9907172" y="2794022"/>
                <a:ext cx="89907" cy="78744"/>
                <a:chOff x="4225429" y="1222164"/>
                <a:chExt cx="1460899" cy="1221232"/>
              </a:xfrm>
              <a:grpFill/>
            </p:grpSpPr>
            <p:sp>
              <p:nvSpPr>
                <p:cNvPr id="27" name="Rounded Rectangle 26"/>
                <p:cNvSpPr/>
                <p:nvPr/>
              </p:nvSpPr>
              <p:spPr bwMode="auto">
                <a:xfrm flipH="1">
                  <a:off x="4320679" y="2160270"/>
                  <a:ext cx="845820" cy="266700"/>
                </a:xfrm>
                <a:prstGeom prst="round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rot="19233811" flipH="1">
                  <a:off x="4650722" y="2027618"/>
                  <a:ext cx="180975" cy="229107"/>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1"/>
                <p:cNvSpPr/>
                <p:nvPr/>
              </p:nvSpPr>
              <p:spPr bwMode="auto">
                <a:xfrm rot="1663182" flipH="1">
                  <a:off x="4643040" y="1334313"/>
                  <a:ext cx="193060" cy="512062"/>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rot="6300000" flipH="1">
                  <a:off x="5129668" y="1183759"/>
                  <a:ext cx="146572" cy="500932"/>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1" name="Rounded Rectangle 30"/>
                <p:cNvSpPr/>
                <p:nvPr/>
              </p:nvSpPr>
              <p:spPr bwMode="auto">
                <a:xfrm flipH="1">
                  <a:off x="4225429" y="2293620"/>
                  <a:ext cx="1036320" cy="149776"/>
                </a:xfrm>
                <a:prstGeom prst="round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flipH="1">
                  <a:off x="4394974" y="1762559"/>
                  <a:ext cx="352209" cy="352210"/>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3" name="Oval 32"/>
                <p:cNvSpPr/>
                <p:nvPr/>
              </p:nvSpPr>
              <p:spPr bwMode="auto">
                <a:xfrm flipH="1">
                  <a:off x="4758229" y="1222164"/>
                  <a:ext cx="256032" cy="256033"/>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4" name="Group 33"/>
                <p:cNvGrpSpPr/>
                <p:nvPr/>
              </p:nvGrpSpPr>
              <p:grpSpPr>
                <a:xfrm rot="20781386">
                  <a:off x="5409524" y="1586085"/>
                  <a:ext cx="276804" cy="467545"/>
                  <a:chOff x="6199773" y="1569838"/>
                  <a:chExt cx="276804" cy="467545"/>
                </a:xfrm>
                <a:grpFill/>
              </p:grpSpPr>
              <p:sp>
                <p:nvSpPr>
                  <p:cNvPr id="36" name="Rectangle 35"/>
                  <p:cNvSpPr/>
                  <p:nvPr/>
                </p:nvSpPr>
                <p:spPr bwMode="auto">
                  <a:xfrm rot="10800000" flipH="1">
                    <a:off x="6289818" y="1569838"/>
                    <a:ext cx="96717" cy="173784"/>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rot="10737439" flipH="1">
                    <a:off x="6282702" y="1724048"/>
                    <a:ext cx="110946" cy="110946"/>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37"/>
                  <p:cNvGrpSpPr/>
                  <p:nvPr/>
                </p:nvGrpSpPr>
                <p:grpSpPr>
                  <a:xfrm>
                    <a:off x="6199773" y="1764545"/>
                    <a:ext cx="99173" cy="272838"/>
                    <a:chOff x="5426382" y="1788525"/>
                    <a:chExt cx="99173" cy="272838"/>
                  </a:xfrm>
                  <a:grpFill/>
                </p:grpSpPr>
                <p:sp>
                  <p:nvSpPr>
                    <p:cNvPr id="42" name="Rectangle 41"/>
                    <p:cNvSpPr/>
                    <p:nvPr/>
                  </p:nvSpPr>
                  <p:spPr bwMode="auto">
                    <a:xfrm rot="13260000" flipH="1">
                      <a:off x="5464045" y="1788525"/>
                      <a:ext cx="45719" cy="137160"/>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3" name="Diagonal Stripe 42"/>
                    <p:cNvSpPr/>
                    <p:nvPr/>
                  </p:nvSpPr>
                  <p:spPr bwMode="auto">
                    <a:xfrm rot="19432650">
                      <a:off x="5426382" y="1878483"/>
                      <a:ext cx="99173" cy="182880"/>
                    </a:xfrm>
                    <a:prstGeom prst="diagStrip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 name="Group 38"/>
                  <p:cNvGrpSpPr/>
                  <p:nvPr/>
                </p:nvGrpSpPr>
                <p:grpSpPr>
                  <a:xfrm flipH="1">
                    <a:off x="6377404" y="1764545"/>
                    <a:ext cx="99173" cy="272838"/>
                    <a:chOff x="5426382" y="1788525"/>
                    <a:chExt cx="99173" cy="272838"/>
                  </a:xfrm>
                  <a:grpFill/>
                </p:grpSpPr>
                <p:sp>
                  <p:nvSpPr>
                    <p:cNvPr id="40" name="Rectangle 39"/>
                    <p:cNvSpPr/>
                    <p:nvPr/>
                  </p:nvSpPr>
                  <p:spPr bwMode="auto">
                    <a:xfrm rot="13260000" flipH="1">
                      <a:off x="5464045" y="1788525"/>
                      <a:ext cx="45719" cy="137160"/>
                    </a:xfrm>
                    <a:prstGeom prst="rect">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sp>
                  <p:nvSpPr>
                    <p:cNvPr id="41" name="Diagonal Stripe 40"/>
                    <p:cNvSpPr/>
                    <p:nvPr/>
                  </p:nvSpPr>
                  <p:spPr bwMode="auto">
                    <a:xfrm rot="19432650">
                      <a:off x="5426382" y="1878483"/>
                      <a:ext cx="99173" cy="182880"/>
                    </a:xfrm>
                    <a:prstGeom prst="diagStrip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5" name="Oval 34"/>
                <p:cNvSpPr/>
                <p:nvPr/>
              </p:nvSpPr>
              <p:spPr bwMode="auto">
                <a:xfrm flipH="1">
                  <a:off x="5372628" y="1436546"/>
                  <a:ext cx="192023" cy="192024"/>
                </a:xfrm>
                <a:prstGeom prst="ellipse">
                  <a:avLst/>
                </a:prstGeom>
                <a:grpFill/>
                <a:ln w="3175">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2" name="VEHICLE TRACKING"/>
              <p:cNvSpPr/>
              <p:nvPr/>
            </p:nvSpPr>
            <p:spPr bwMode="auto">
              <a:xfrm>
                <a:off x="9906038" y="2665908"/>
                <a:ext cx="114660" cy="90822"/>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p:nvPr/>
            </p:nvGrpSpPr>
            <p:grpSpPr>
              <a:xfrm>
                <a:off x="10025141" y="2670640"/>
                <a:ext cx="84583" cy="51677"/>
                <a:chOff x="10495146" y="2518585"/>
                <a:chExt cx="329564" cy="201352"/>
              </a:xfrm>
              <a:grpFill/>
            </p:grpSpPr>
            <p:sp>
              <p:nvSpPr>
                <p:cNvPr id="24" name="Freeform 86"/>
                <p:cNvSpPr>
                  <a:spLocks/>
                </p:cNvSpPr>
                <p:nvPr/>
              </p:nvSpPr>
              <p:spPr bwMode="gray">
                <a:xfrm>
                  <a:off x="10532691" y="2589305"/>
                  <a:ext cx="54611" cy="102220"/>
                </a:xfrm>
                <a:custGeom>
                  <a:avLst/>
                  <a:gdLst>
                    <a:gd name="T0" fmla="*/ 0 w 61"/>
                    <a:gd name="T1" fmla="*/ 139 h 140"/>
                    <a:gd name="T2" fmla="*/ 1 w 61"/>
                    <a:gd name="T3" fmla="*/ 140 h 140"/>
                    <a:gd name="T4" fmla="*/ 61 w 61"/>
                    <a:gd name="T5" fmla="*/ 56 h 140"/>
                    <a:gd name="T6" fmla="*/ 35 w 61"/>
                    <a:gd name="T7" fmla="*/ 0 h 140"/>
                    <a:gd name="T8" fmla="*/ 0 w 61"/>
                    <a:gd name="T9" fmla="*/ 139 h 140"/>
                  </a:gdLst>
                  <a:ahLst/>
                  <a:cxnLst>
                    <a:cxn ang="0">
                      <a:pos x="T0" y="T1"/>
                    </a:cxn>
                    <a:cxn ang="0">
                      <a:pos x="T2" y="T3"/>
                    </a:cxn>
                    <a:cxn ang="0">
                      <a:pos x="T4" y="T5"/>
                    </a:cxn>
                    <a:cxn ang="0">
                      <a:pos x="T6" y="T7"/>
                    </a:cxn>
                    <a:cxn ang="0">
                      <a:pos x="T8" y="T9"/>
                    </a:cxn>
                  </a:cxnLst>
                  <a:rect l="0" t="0" r="r" b="b"/>
                  <a:pathLst>
                    <a:path w="61" h="140">
                      <a:moveTo>
                        <a:pt x="0" y="139"/>
                      </a:moveTo>
                      <a:cubicBezTo>
                        <a:pt x="0" y="139"/>
                        <a:pt x="1" y="139"/>
                        <a:pt x="1" y="140"/>
                      </a:cubicBezTo>
                      <a:cubicBezTo>
                        <a:pt x="61" y="56"/>
                        <a:pt x="61" y="56"/>
                        <a:pt x="61" y="56"/>
                      </a:cubicBezTo>
                      <a:cubicBezTo>
                        <a:pt x="35" y="0"/>
                        <a:pt x="35" y="0"/>
                        <a:pt x="35" y="0"/>
                      </a:cubicBezTo>
                      <a:lnTo>
                        <a:pt x="0"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25" name="Freeform 87"/>
                <p:cNvSpPr>
                  <a:spLocks/>
                </p:cNvSpPr>
                <p:nvPr/>
              </p:nvSpPr>
              <p:spPr bwMode="gray">
                <a:xfrm>
                  <a:off x="10595267" y="2619879"/>
                  <a:ext cx="30719" cy="43852"/>
                </a:xfrm>
                <a:custGeom>
                  <a:avLst/>
                  <a:gdLst>
                    <a:gd name="T0" fmla="*/ 0 w 81"/>
                    <a:gd name="T1" fmla="*/ 33 h 142"/>
                    <a:gd name="T2" fmla="*/ 50 w 81"/>
                    <a:gd name="T3" fmla="*/ 142 h 142"/>
                    <a:gd name="T4" fmla="*/ 81 w 81"/>
                    <a:gd name="T5" fmla="*/ 78 h 142"/>
                    <a:gd name="T6" fmla="*/ 24 w 81"/>
                    <a:gd name="T7" fmla="*/ 0 h 142"/>
                    <a:gd name="T8" fmla="*/ 0 w 81"/>
                    <a:gd name="T9" fmla="*/ 33 h 142"/>
                  </a:gdLst>
                  <a:ahLst/>
                  <a:cxnLst>
                    <a:cxn ang="0">
                      <a:pos x="T0" y="T1"/>
                    </a:cxn>
                    <a:cxn ang="0">
                      <a:pos x="T2" y="T3"/>
                    </a:cxn>
                    <a:cxn ang="0">
                      <a:pos x="T4" y="T5"/>
                    </a:cxn>
                    <a:cxn ang="0">
                      <a:pos x="T6" y="T7"/>
                    </a:cxn>
                    <a:cxn ang="0">
                      <a:pos x="T8" y="T9"/>
                    </a:cxn>
                  </a:cxnLst>
                  <a:rect l="0" t="0" r="r" b="b"/>
                  <a:pathLst>
                    <a:path w="81" h="142">
                      <a:moveTo>
                        <a:pt x="0" y="33"/>
                      </a:moveTo>
                      <a:lnTo>
                        <a:pt x="50" y="142"/>
                      </a:lnTo>
                      <a:lnTo>
                        <a:pt x="81" y="78"/>
                      </a:lnTo>
                      <a:lnTo>
                        <a:pt x="24" y="0"/>
                      </a:ln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sp>
              <p:nvSpPr>
                <p:cNvPr id="26" name="Freeform 88"/>
                <p:cNvSpPr>
                  <a:spLocks noEditPoints="1"/>
                </p:cNvSpPr>
                <p:nvPr/>
              </p:nvSpPr>
              <p:spPr bwMode="gray">
                <a:xfrm>
                  <a:off x="10495146" y="2518585"/>
                  <a:ext cx="329564" cy="201352"/>
                </a:xfrm>
                <a:custGeom>
                  <a:avLst/>
                  <a:gdLst>
                    <a:gd name="T0" fmla="*/ 360 w 368"/>
                    <a:gd name="T1" fmla="*/ 0 h 276"/>
                    <a:gd name="T2" fmla="*/ 8 w 368"/>
                    <a:gd name="T3" fmla="*/ 0 h 276"/>
                    <a:gd name="T4" fmla="*/ 0 w 368"/>
                    <a:gd name="T5" fmla="*/ 8 h 276"/>
                    <a:gd name="T6" fmla="*/ 0 w 368"/>
                    <a:gd name="T7" fmla="*/ 268 h 276"/>
                    <a:gd name="T8" fmla="*/ 8 w 368"/>
                    <a:gd name="T9" fmla="*/ 276 h 276"/>
                    <a:gd name="T10" fmla="*/ 360 w 368"/>
                    <a:gd name="T11" fmla="*/ 276 h 276"/>
                    <a:gd name="T12" fmla="*/ 368 w 368"/>
                    <a:gd name="T13" fmla="*/ 268 h 276"/>
                    <a:gd name="T14" fmla="*/ 368 w 368"/>
                    <a:gd name="T15" fmla="*/ 8 h 276"/>
                    <a:gd name="T16" fmla="*/ 360 w 368"/>
                    <a:gd name="T17" fmla="*/ 0 h 276"/>
                    <a:gd name="T18" fmla="*/ 323 w 368"/>
                    <a:gd name="T19" fmla="*/ 159 h 276"/>
                    <a:gd name="T20" fmla="*/ 318 w 368"/>
                    <a:gd name="T21" fmla="*/ 158 h 276"/>
                    <a:gd name="T22" fmla="*/ 274 w 368"/>
                    <a:gd name="T23" fmla="*/ 204 h 276"/>
                    <a:gd name="T24" fmla="*/ 247 w 368"/>
                    <a:gd name="T25" fmla="*/ 169 h 276"/>
                    <a:gd name="T26" fmla="*/ 173 w 368"/>
                    <a:gd name="T27" fmla="*/ 210 h 276"/>
                    <a:gd name="T28" fmla="*/ 151 w 368"/>
                    <a:gd name="T29" fmla="*/ 180 h 276"/>
                    <a:gd name="T30" fmla="*/ 133 w 368"/>
                    <a:gd name="T31" fmla="*/ 218 h 276"/>
                    <a:gd name="T32" fmla="*/ 107 w 368"/>
                    <a:gd name="T33" fmla="*/ 161 h 276"/>
                    <a:gd name="T34" fmla="*/ 47 w 368"/>
                    <a:gd name="T35" fmla="*/ 245 h 276"/>
                    <a:gd name="T36" fmla="*/ 47 w 368"/>
                    <a:gd name="T37" fmla="*/ 246 h 276"/>
                    <a:gd name="T38" fmla="*/ 35 w 368"/>
                    <a:gd name="T39" fmla="*/ 259 h 276"/>
                    <a:gd name="T40" fmla="*/ 22 w 368"/>
                    <a:gd name="T41" fmla="*/ 246 h 276"/>
                    <a:gd name="T42" fmla="*/ 34 w 368"/>
                    <a:gd name="T43" fmla="*/ 233 h 276"/>
                    <a:gd name="T44" fmla="*/ 75 w 368"/>
                    <a:gd name="T45" fmla="*/ 73 h 276"/>
                    <a:gd name="T46" fmla="*/ 108 w 368"/>
                    <a:gd name="T47" fmla="*/ 145 h 276"/>
                    <a:gd name="T48" fmla="*/ 122 w 368"/>
                    <a:gd name="T49" fmla="*/ 125 h 276"/>
                    <a:gd name="T50" fmla="*/ 150 w 368"/>
                    <a:gd name="T51" fmla="*/ 164 h 276"/>
                    <a:gd name="T52" fmla="*/ 188 w 368"/>
                    <a:gd name="T53" fmla="*/ 86 h 276"/>
                    <a:gd name="T54" fmla="*/ 247 w 368"/>
                    <a:gd name="T55" fmla="*/ 106 h 276"/>
                    <a:gd name="T56" fmla="*/ 299 w 368"/>
                    <a:gd name="T57" fmla="*/ 41 h 276"/>
                    <a:gd name="T58" fmla="*/ 298 w 368"/>
                    <a:gd name="T59" fmla="*/ 34 h 276"/>
                    <a:gd name="T60" fmla="*/ 310 w 368"/>
                    <a:gd name="T61" fmla="*/ 22 h 276"/>
                    <a:gd name="T62" fmla="*/ 323 w 368"/>
                    <a:gd name="T63" fmla="*/ 34 h 276"/>
                    <a:gd name="T64" fmla="*/ 310 w 368"/>
                    <a:gd name="T65" fmla="*/ 47 h 276"/>
                    <a:gd name="T66" fmla="*/ 305 w 368"/>
                    <a:gd name="T67" fmla="*/ 46 h 276"/>
                    <a:gd name="T68" fmla="*/ 250 w 368"/>
                    <a:gd name="T69" fmla="*/ 116 h 276"/>
                    <a:gd name="T70" fmla="*/ 192 w 368"/>
                    <a:gd name="T71" fmla="*/ 96 h 276"/>
                    <a:gd name="T72" fmla="*/ 155 w 368"/>
                    <a:gd name="T73" fmla="*/ 172 h 276"/>
                    <a:gd name="T74" fmla="*/ 175 w 368"/>
                    <a:gd name="T75" fmla="*/ 200 h 276"/>
                    <a:gd name="T76" fmla="*/ 249 w 368"/>
                    <a:gd name="T77" fmla="*/ 159 h 276"/>
                    <a:gd name="T78" fmla="*/ 274 w 368"/>
                    <a:gd name="T79" fmla="*/ 191 h 276"/>
                    <a:gd name="T80" fmla="*/ 312 w 368"/>
                    <a:gd name="T81" fmla="*/ 153 h 276"/>
                    <a:gd name="T82" fmla="*/ 311 w 368"/>
                    <a:gd name="T83" fmla="*/ 147 h 276"/>
                    <a:gd name="T84" fmla="*/ 323 w 368"/>
                    <a:gd name="T85" fmla="*/ 134 h 276"/>
                    <a:gd name="T86" fmla="*/ 336 w 368"/>
                    <a:gd name="T87" fmla="*/ 147 h 276"/>
                    <a:gd name="T88" fmla="*/ 323 w 368"/>
                    <a:gd name="T89" fmla="*/ 15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8" h="276">
                      <a:moveTo>
                        <a:pt x="360" y="0"/>
                      </a:moveTo>
                      <a:cubicBezTo>
                        <a:pt x="8" y="0"/>
                        <a:pt x="8" y="0"/>
                        <a:pt x="8" y="0"/>
                      </a:cubicBezTo>
                      <a:cubicBezTo>
                        <a:pt x="4" y="0"/>
                        <a:pt x="0" y="4"/>
                        <a:pt x="0" y="8"/>
                      </a:cubicBezTo>
                      <a:cubicBezTo>
                        <a:pt x="0" y="268"/>
                        <a:pt x="0" y="268"/>
                        <a:pt x="0" y="268"/>
                      </a:cubicBezTo>
                      <a:cubicBezTo>
                        <a:pt x="0" y="272"/>
                        <a:pt x="4" y="276"/>
                        <a:pt x="8" y="276"/>
                      </a:cubicBezTo>
                      <a:cubicBezTo>
                        <a:pt x="360" y="276"/>
                        <a:pt x="360" y="276"/>
                        <a:pt x="360" y="276"/>
                      </a:cubicBezTo>
                      <a:cubicBezTo>
                        <a:pt x="364" y="276"/>
                        <a:pt x="368" y="272"/>
                        <a:pt x="368" y="268"/>
                      </a:cubicBezTo>
                      <a:cubicBezTo>
                        <a:pt x="368" y="8"/>
                        <a:pt x="368" y="8"/>
                        <a:pt x="368" y="8"/>
                      </a:cubicBezTo>
                      <a:cubicBezTo>
                        <a:pt x="368" y="4"/>
                        <a:pt x="364" y="0"/>
                        <a:pt x="360" y="0"/>
                      </a:cubicBezTo>
                      <a:close/>
                      <a:moveTo>
                        <a:pt x="323" y="159"/>
                      </a:moveTo>
                      <a:cubicBezTo>
                        <a:pt x="322" y="159"/>
                        <a:pt x="320" y="159"/>
                        <a:pt x="318" y="158"/>
                      </a:cubicBezTo>
                      <a:cubicBezTo>
                        <a:pt x="274" y="204"/>
                        <a:pt x="274" y="204"/>
                        <a:pt x="274" y="204"/>
                      </a:cubicBezTo>
                      <a:cubicBezTo>
                        <a:pt x="247" y="169"/>
                        <a:pt x="247" y="169"/>
                        <a:pt x="247" y="169"/>
                      </a:cubicBezTo>
                      <a:cubicBezTo>
                        <a:pt x="173" y="210"/>
                        <a:pt x="173" y="210"/>
                        <a:pt x="173" y="210"/>
                      </a:cubicBezTo>
                      <a:cubicBezTo>
                        <a:pt x="151" y="180"/>
                        <a:pt x="151" y="180"/>
                        <a:pt x="151" y="180"/>
                      </a:cubicBezTo>
                      <a:cubicBezTo>
                        <a:pt x="133" y="218"/>
                        <a:pt x="133" y="218"/>
                        <a:pt x="133" y="218"/>
                      </a:cubicBezTo>
                      <a:cubicBezTo>
                        <a:pt x="107" y="161"/>
                        <a:pt x="107" y="161"/>
                        <a:pt x="107" y="161"/>
                      </a:cubicBezTo>
                      <a:cubicBezTo>
                        <a:pt x="47" y="245"/>
                        <a:pt x="47" y="245"/>
                        <a:pt x="47" y="245"/>
                      </a:cubicBezTo>
                      <a:cubicBezTo>
                        <a:pt x="47" y="245"/>
                        <a:pt x="47" y="246"/>
                        <a:pt x="47" y="246"/>
                      </a:cubicBezTo>
                      <a:cubicBezTo>
                        <a:pt x="47" y="253"/>
                        <a:pt x="42" y="259"/>
                        <a:pt x="35" y="259"/>
                      </a:cubicBezTo>
                      <a:cubicBezTo>
                        <a:pt x="28" y="259"/>
                        <a:pt x="22" y="253"/>
                        <a:pt x="22" y="246"/>
                      </a:cubicBezTo>
                      <a:cubicBezTo>
                        <a:pt x="22" y="239"/>
                        <a:pt x="27" y="234"/>
                        <a:pt x="34" y="233"/>
                      </a:cubicBezTo>
                      <a:cubicBezTo>
                        <a:pt x="75" y="73"/>
                        <a:pt x="75" y="73"/>
                        <a:pt x="75" y="73"/>
                      </a:cubicBezTo>
                      <a:cubicBezTo>
                        <a:pt x="108" y="145"/>
                        <a:pt x="108" y="145"/>
                        <a:pt x="108" y="145"/>
                      </a:cubicBezTo>
                      <a:cubicBezTo>
                        <a:pt x="122" y="125"/>
                        <a:pt x="122" y="125"/>
                        <a:pt x="122" y="125"/>
                      </a:cubicBezTo>
                      <a:cubicBezTo>
                        <a:pt x="150" y="164"/>
                        <a:pt x="150" y="164"/>
                        <a:pt x="150" y="164"/>
                      </a:cubicBezTo>
                      <a:cubicBezTo>
                        <a:pt x="188" y="86"/>
                        <a:pt x="188" y="86"/>
                        <a:pt x="188" y="86"/>
                      </a:cubicBezTo>
                      <a:cubicBezTo>
                        <a:pt x="247" y="106"/>
                        <a:pt x="247" y="106"/>
                        <a:pt x="247" y="106"/>
                      </a:cubicBezTo>
                      <a:cubicBezTo>
                        <a:pt x="299" y="41"/>
                        <a:pt x="299" y="41"/>
                        <a:pt x="299" y="41"/>
                      </a:cubicBezTo>
                      <a:cubicBezTo>
                        <a:pt x="298" y="39"/>
                        <a:pt x="298" y="37"/>
                        <a:pt x="298" y="34"/>
                      </a:cubicBezTo>
                      <a:cubicBezTo>
                        <a:pt x="298" y="27"/>
                        <a:pt x="303" y="22"/>
                        <a:pt x="310" y="22"/>
                      </a:cubicBezTo>
                      <a:cubicBezTo>
                        <a:pt x="317" y="22"/>
                        <a:pt x="323" y="27"/>
                        <a:pt x="323" y="34"/>
                      </a:cubicBezTo>
                      <a:cubicBezTo>
                        <a:pt x="323" y="41"/>
                        <a:pt x="317" y="47"/>
                        <a:pt x="310" y="47"/>
                      </a:cubicBezTo>
                      <a:cubicBezTo>
                        <a:pt x="309" y="47"/>
                        <a:pt x="307" y="46"/>
                        <a:pt x="305" y="46"/>
                      </a:cubicBezTo>
                      <a:cubicBezTo>
                        <a:pt x="250" y="116"/>
                        <a:pt x="250" y="116"/>
                        <a:pt x="250" y="116"/>
                      </a:cubicBezTo>
                      <a:cubicBezTo>
                        <a:pt x="192" y="96"/>
                        <a:pt x="192" y="96"/>
                        <a:pt x="192" y="96"/>
                      </a:cubicBezTo>
                      <a:cubicBezTo>
                        <a:pt x="155" y="172"/>
                        <a:pt x="155" y="172"/>
                        <a:pt x="155" y="172"/>
                      </a:cubicBezTo>
                      <a:cubicBezTo>
                        <a:pt x="175" y="200"/>
                        <a:pt x="175" y="200"/>
                        <a:pt x="175" y="200"/>
                      </a:cubicBezTo>
                      <a:cubicBezTo>
                        <a:pt x="249" y="159"/>
                        <a:pt x="249" y="159"/>
                        <a:pt x="249" y="159"/>
                      </a:cubicBezTo>
                      <a:cubicBezTo>
                        <a:pt x="274" y="191"/>
                        <a:pt x="274" y="191"/>
                        <a:pt x="274" y="191"/>
                      </a:cubicBezTo>
                      <a:cubicBezTo>
                        <a:pt x="312" y="153"/>
                        <a:pt x="312" y="153"/>
                        <a:pt x="312" y="153"/>
                      </a:cubicBezTo>
                      <a:cubicBezTo>
                        <a:pt x="311" y="151"/>
                        <a:pt x="311" y="149"/>
                        <a:pt x="311" y="147"/>
                      </a:cubicBezTo>
                      <a:cubicBezTo>
                        <a:pt x="311" y="140"/>
                        <a:pt x="316" y="134"/>
                        <a:pt x="323" y="134"/>
                      </a:cubicBezTo>
                      <a:cubicBezTo>
                        <a:pt x="330" y="134"/>
                        <a:pt x="336" y="140"/>
                        <a:pt x="336" y="147"/>
                      </a:cubicBezTo>
                      <a:cubicBezTo>
                        <a:pt x="336" y="154"/>
                        <a:pt x="330" y="159"/>
                        <a:pt x="323" y="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404040"/>
                    </a:solidFill>
                  </a:endParaRPr>
                </a:p>
              </p:txBody>
            </p:sp>
          </p:grpSp>
        </p:grpSp>
      </p:grpSp>
    </p:spTree>
    <p:extLst>
      <p:ext uri="{BB962C8B-B14F-4D97-AF65-F5344CB8AC3E}">
        <p14:creationId xmlns:p14="http://schemas.microsoft.com/office/powerpoint/2010/main" val="3882207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ppt_x"/>
                                          </p:val>
                                        </p:tav>
                                        <p:tav tm="100000">
                                          <p:val>
                                            <p:strVal val="#ppt_x"/>
                                          </p:val>
                                        </p:tav>
                                      </p:tavLst>
                                    </p:anim>
                                    <p:anim calcmode="lin" valueType="num">
                                      <p:cBhvr additive="base">
                                        <p:cTn id="8" dur="1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500" fill="hold"/>
                                        <p:tgtEl>
                                          <p:spTgt spid="5"/>
                                        </p:tgtEl>
                                        <p:attrNameLst>
                                          <p:attrName>ppt_x</p:attrName>
                                        </p:attrNameLst>
                                      </p:cBhvr>
                                      <p:tavLst>
                                        <p:tav tm="0">
                                          <p:val>
                                            <p:strVal val="#ppt_x"/>
                                          </p:val>
                                        </p:tav>
                                        <p:tav tm="100000">
                                          <p:val>
                                            <p:strVal val="#ppt_x"/>
                                          </p:val>
                                        </p:tav>
                                      </p:tavLst>
                                    </p:anim>
                                    <p:anim calcmode="lin" valueType="num">
                                      <p:cBhvr additive="base">
                                        <p:cTn id="12" dur="1500" fill="hold"/>
                                        <p:tgtEl>
                                          <p:spTgt spid="5"/>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1500" fill="hold"/>
                                        <p:tgtEl>
                                          <p:spTgt spid="6"/>
                                        </p:tgtEl>
                                        <p:attrNameLst>
                                          <p:attrName>ppt_x</p:attrName>
                                        </p:attrNameLst>
                                      </p:cBhvr>
                                      <p:tavLst>
                                        <p:tav tm="0">
                                          <p:val>
                                            <p:strVal val="#ppt_x"/>
                                          </p:val>
                                        </p:tav>
                                        <p:tav tm="100000">
                                          <p:val>
                                            <p:strVal val="#ppt_x"/>
                                          </p:val>
                                        </p:tav>
                                      </p:tavLst>
                                    </p:anim>
                                    <p:anim calcmode="lin" valueType="num">
                                      <p:cBhvr additive="base">
                                        <p:cTn id="16" dur="1500" fill="hold"/>
                                        <p:tgtEl>
                                          <p:spTgt spid="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75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1500" fill="hold"/>
                                        <p:tgtEl>
                                          <p:spTgt spid="8"/>
                                        </p:tgtEl>
                                        <p:attrNameLst>
                                          <p:attrName>ppt_x</p:attrName>
                                        </p:attrNameLst>
                                      </p:cBhvr>
                                      <p:tavLst>
                                        <p:tav tm="0">
                                          <p:val>
                                            <p:strVal val="#ppt_x"/>
                                          </p:val>
                                        </p:tav>
                                        <p:tav tm="100000">
                                          <p:val>
                                            <p:strVal val="#ppt_x"/>
                                          </p:val>
                                        </p:tav>
                                      </p:tavLst>
                                    </p:anim>
                                    <p:anim calcmode="lin" valueType="num">
                                      <p:cBhvr additive="base">
                                        <p:cTn id="20" dur="150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100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1500" fill="hold"/>
                                        <p:tgtEl>
                                          <p:spTgt spid="7"/>
                                        </p:tgtEl>
                                        <p:attrNameLst>
                                          <p:attrName>ppt_x</p:attrName>
                                        </p:attrNameLst>
                                      </p:cBhvr>
                                      <p:tavLst>
                                        <p:tav tm="0">
                                          <p:val>
                                            <p:strVal val="#ppt_x"/>
                                          </p:val>
                                        </p:tav>
                                        <p:tav tm="100000">
                                          <p:val>
                                            <p:strVal val="#ppt_x"/>
                                          </p:val>
                                        </p:tav>
                                      </p:tavLst>
                                    </p:anim>
                                    <p:anim calcmode="lin" valueType="num">
                                      <p:cBhvr additive="base">
                                        <p:cTn id="24" dur="1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cloud"/>
          <p:cNvSpPr>
            <a:spLocks noChangeAspect="1"/>
          </p:cNvSpPr>
          <p:nvPr/>
        </p:nvSpPr>
        <p:spPr bwMode="black">
          <a:xfrm>
            <a:off x="3133179" y="982662"/>
            <a:ext cx="9197743" cy="54507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20000"/>
              <a:lumOff val="80000"/>
            </a:schemeClr>
          </a:solidFill>
          <a:ln w="76200">
            <a:gradFill flip="none" rotWithShape="1">
              <a:gsLst>
                <a:gs pos="50000">
                  <a:srgbClr val="5EB6DA"/>
                </a:gs>
                <a:gs pos="50000">
                  <a:srgbClr val="3999C6"/>
                </a:gs>
              </a:gsLst>
              <a:lin ang="81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tIns="822960" rtlCol="0" anchor="ctr"/>
          <a:lstStyle/>
          <a:p>
            <a:pPr algn="ctr">
              <a:lnSpc>
                <a:spcPct val="80000"/>
              </a:lnSpc>
            </a:pPr>
            <a:endParaRPr lang="en-US" sz="4400" spc="-150" dirty="0">
              <a:solidFill>
                <a:srgbClr val="FFFFFF"/>
              </a:solidFill>
              <a:latin typeface="Segoe UI Light"/>
            </a:endParaRPr>
          </a:p>
        </p:txBody>
      </p:sp>
      <p:cxnSp>
        <p:nvCxnSpPr>
          <p:cNvPr id="227" name="2 fg"/>
          <p:cNvCxnSpPr/>
          <p:nvPr/>
        </p:nvCxnSpPr>
        <p:spPr>
          <a:xfrm>
            <a:off x="1005627" y="5160033"/>
            <a:ext cx="338743" cy="10454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2   Arrow fg"/>
          <p:cNvCxnSpPr/>
          <p:nvPr/>
        </p:nvCxnSpPr>
        <p:spPr>
          <a:xfrm>
            <a:off x="2179637" y="5495042"/>
            <a:ext cx="1593360" cy="3174"/>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3" name="2 Arrow"/>
          <p:cNvCxnSpPr/>
          <p:nvPr/>
        </p:nvCxnSpPr>
        <p:spPr>
          <a:xfrm>
            <a:off x="1010114" y="2267026"/>
            <a:ext cx="2780886" cy="1305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2 Field Gateway"/>
          <p:cNvGrpSpPr/>
          <p:nvPr/>
        </p:nvGrpSpPr>
        <p:grpSpPr>
          <a:xfrm>
            <a:off x="1386312" y="4957895"/>
            <a:ext cx="769091" cy="1063609"/>
            <a:chOff x="1547306" y="5067599"/>
            <a:chExt cx="769091" cy="1063609"/>
          </a:xfrm>
        </p:grpSpPr>
        <p:sp>
          <p:nvSpPr>
            <p:cNvPr id="15" name="Rectangle 14"/>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75"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sp>
        <p:nvSpPr>
          <p:cNvPr id="28" name="Rectangle 27"/>
          <p:cNvSpPr/>
          <p:nvPr/>
        </p:nvSpPr>
        <p:spPr bwMode="auto">
          <a:xfrm>
            <a:off x="1" y="1768156"/>
            <a:ext cx="1004696" cy="433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2 Device"/>
          <p:cNvSpPr txBox="1"/>
          <p:nvPr/>
        </p:nvSpPr>
        <p:spPr>
          <a:xfrm>
            <a:off x="1367461" y="6100731"/>
            <a:ext cx="3583925"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Device </a:t>
            </a:r>
          </a:p>
          <a:p>
            <a:r>
              <a:rPr lang="en-US" dirty="0">
                <a:solidFill>
                  <a:srgbClr val="FFFFFF"/>
                </a:solidFill>
              </a:rPr>
              <a:t>Connectivity &amp; Management</a:t>
            </a:r>
          </a:p>
        </p:txBody>
      </p:sp>
      <p:sp>
        <p:nvSpPr>
          <p:cNvPr id="56" name="3"/>
          <p:cNvSpPr txBox="1"/>
          <p:nvPr/>
        </p:nvSpPr>
        <p:spPr>
          <a:xfrm>
            <a:off x="5450422" y="6100731"/>
            <a:ext cx="3681432"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p>
            <a:pPr defTabSz="932597"/>
            <a:r>
              <a:rPr lang="en-US" sz="1600" dirty="0">
                <a:solidFill>
                  <a:srgbClr val="FFFFFF"/>
                </a:solidFill>
              </a:rPr>
              <a:t>Analytics &amp; </a:t>
            </a:r>
          </a:p>
          <a:p>
            <a:pPr defTabSz="932597"/>
            <a:r>
              <a:rPr lang="en-US" sz="1600" dirty="0">
                <a:solidFill>
                  <a:srgbClr val="FFFFFF"/>
                </a:solidFill>
              </a:rPr>
              <a:t>Operationalized Insights</a:t>
            </a:r>
          </a:p>
        </p:txBody>
      </p:sp>
      <p:sp>
        <p:nvSpPr>
          <p:cNvPr id="58" name="7 Presentation"/>
          <p:cNvSpPr txBox="1"/>
          <p:nvPr/>
        </p:nvSpPr>
        <p:spPr>
          <a:xfrm>
            <a:off x="9715484" y="6100731"/>
            <a:ext cx="2179368" cy="677108"/>
          </a:xfrm>
          <a:prstGeom prst="rect">
            <a:avLst/>
          </a:prstGeom>
          <a:gradFill>
            <a:gsLst>
              <a:gs pos="28000">
                <a:srgbClr val="5EB6DA"/>
              </a:gs>
              <a:gs pos="28000">
                <a:srgbClr val="3999C6"/>
              </a:gs>
            </a:gsLst>
            <a:lin ang="8100000" scaled="1"/>
          </a:gradFill>
        </p:spPr>
        <p:txBody>
          <a:bodyPr wrap="square" lIns="91440" tIns="91440" rIns="0" bIns="91440" rtlCol="0">
            <a:spAutoFit/>
          </a:bodyPr>
          <a:lstStyle>
            <a:defPPr>
              <a:defRPr lang="en-US"/>
            </a:defPPr>
            <a:lvl1pPr defTabSz="932597">
              <a:defRPr sz="1600">
                <a:solidFill>
                  <a:schemeClr val="bg2"/>
                </a:solidFill>
              </a:defRPr>
            </a:lvl1pPr>
          </a:lstStyle>
          <a:p>
            <a:r>
              <a:rPr lang="en-US" dirty="0">
                <a:solidFill>
                  <a:srgbClr val="FFFFFF"/>
                </a:solidFill>
              </a:rPr>
              <a:t>Presentation &amp; </a:t>
            </a:r>
          </a:p>
          <a:p>
            <a:r>
              <a:rPr lang="en-US" dirty="0">
                <a:solidFill>
                  <a:srgbClr val="FFFFFF"/>
                </a:solidFill>
              </a:rPr>
              <a:t>Business Connectivity</a:t>
            </a:r>
          </a:p>
        </p:txBody>
      </p:sp>
      <p:sp>
        <p:nvSpPr>
          <p:cNvPr id="5" name="Title 4"/>
          <p:cNvSpPr>
            <a:spLocks noGrp="1"/>
          </p:cNvSpPr>
          <p:nvPr>
            <p:ph type="title"/>
          </p:nvPr>
        </p:nvSpPr>
        <p:spPr>
          <a:xfrm>
            <a:off x="274639" y="295274"/>
            <a:ext cx="11889564" cy="917575"/>
          </a:xfrm>
        </p:spPr>
        <p:txBody>
          <a:bodyPr/>
          <a:lstStyle/>
          <a:p>
            <a:pPr lvl="0"/>
            <a:r>
              <a:rPr lang="en-US" dirty="0">
                <a:gradFill>
                  <a:gsLst>
                    <a:gs pos="1250">
                      <a:srgbClr val="404040"/>
                    </a:gs>
                    <a:gs pos="100000">
                      <a:srgbClr val="404040"/>
                    </a:gs>
                  </a:gsLst>
                  <a:lin ang="5400000" scaled="0"/>
                </a:gradFill>
              </a:rPr>
              <a:t>IoT Device &amp; Cloud Patterns</a:t>
            </a:r>
            <a:endParaRPr lang="en-US" dirty="0"/>
          </a:p>
        </p:txBody>
      </p:sp>
      <p:cxnSp>
        <p:nvCxnSpPr>
          <p:cNvPr id="237" name="Straight Arrow Connector 236"/>
          <p:cNvCxnSpPr/>
          <p:nvPr/>
        </p:nvCxnSpPr>
        <p:spPr>
          <a:xfrm>
            <a:off x="4951386" y="5125902"/>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4951386" y="3834906"/>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a:off x="4951386" y="2620274"/>
            <a:ext cx="45720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p:nvPr/>
        </p:nvCxnSpPr>
        <p:spPr>
          <a:xfrm>
            <a:off x="9254171" y="5125902"/>
            <a:ext cx="36576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p:cNvCxnSpPr/>
          <p:nvPr/>
        </p:nvCxnSpPr>
        <p:spPr>
          <a:xfrm>
            <a:off x="9254171" y="3968875"/>
            <a:ext cx="36576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p:cNvCxnSpPr/>
          <p:nvPr/>
        </p:nvCxnSpPr>
        <p:spPr>
          <a:xfrm>
            <a:off x="9254171" y="2620274"/>
            <a:ext cx="365760" cy="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8" name="1 Devices - sensors"/>
          <p:cNvGrpSpPr/>
          <p:nvPr/>
        </p:nvGrpSpPr>
        <p:grpSpPr>
          <a:xfrm>
            <a:off x="115914" y="2043077"/>
            <a:ext cx="871159" cy="3991585"/>
            <a:chOff x="276909" y="1995490"/>
            <a:chExt cx="871159" cy="3991585"/>
          </a:xfrm>
        </p:grpSpPr>
        <p:sp>
          <p:nvSpPr>
            <p:cNvPr id="230" name="Rectangle 229"/>
            <p:cNvSpPr/>
            <p:nvPr/>
          </p:nvSpPr>
          <p:spPr bwMode="auto">
            <a:xfrm>
              <a:off x="814417" y="20556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2" name="TextBox 231"/>
            <p:cNvSpPr txBox="1"/>
            <p:nvPr/>
          </p:nvSpPr>
          <p:spPr>
            <a:xfrm rot="16200000">
              <a:off x="-1511456" y="3783855"/>
              <a:ext cx="3976839" cy="400110"/>
            </a:xfrm>
            <a:prstGeom prst="rect">
              <a:avLst/>
            </a:prstGeom>
            <a:noFill/>
            <a:ln>
              <a:noFill/>
              <a:headEnd type="none" w="med" len="med"/>
              <a:tailEnd type="none" w="med" len="med"/>
            </a:ln>
          </p:spPr>
          <p:txBody>
            <a:bodyPr wrap="square" lIns="0" tIns="0" rIns="0" bIns="0" rtlCol="0">
              <a:spAutoFit/>
            </a:bodyPr>
            <a:lstStyle/>
            <a:p>
              <a:pPr algn="ctr" defTabSz="932384"/>
              <a:r>
                <a:rPr lang="en-US" sz="1400" spc="-38" dirty="0">
                  <a:solidFill>
                    <a:prstClr val="black"/>
                  </a:solidFill>
                  <a:latin typeface="Segoe UI Black" panose="020B0A02040204020203" pitchFamily="34" charset="0"/>
                  <a:ea typeface="Segoe UI Black" panose="020B0A02040204020203" pitchFamily="34" charset="0"/>
                  <a:cs typeface="Segoe UI Black" panose="020B0A02040204020203" pitchFamily="34" charset="0"/>
                </a:rPr>
                <a:t>Devices</a:t>
              </a:r>
            </a:p>
            <a:p>
              <a:pPr algn="ctr" defTabSz="932384"/>
              <a:r>
                <a:rPr lang="en-US" sz="1200" spc="-38" dirty="0">
                  <a:solidFill>
                    <a:prstClr val="black"/>
                  </a:solidFill>
                  <a:latin typeface="Segoe UI Semibold" panose="020B0702040204020203" pitchFamily="34" charset="0"/>
                  <a:ea typeface="Segoe UI" pitchFamily="34" charset="0"/>
                  <a:cs typeface="Segoe UI Semibold" panose="020B0702040204020203" pitchFamily="34" charset="0"/>
                </a:rPr>
                <a:t>RTOS, Linux, Windows, Android, iOS </a:t>
              </a:r>
            </a:p>
          </p:txBody>
        </p:sp>
        <p:sp>
          <p:nvSpPr>
            <p:cNvPr id="234" name="Frame 5"/>
            <p:cNvSpPr>
              <a:spLocks noChangeAspect="1"/>
            </p:cNvSpPr>
            <p:nvPr/>
          </p:nvSpPr>
          <p:spPr bwMode="auto">
            <a:xfrm>
              <a:off x="856938" y="209186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234"/>
            <p:cNvSpPr/>
            <p:nvPr/>
          </p:nvSpPr>
          <p:spPr bwMode="auto">
            <a:xfrm>
              <a:off x="814417" y="2417580"/>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36" name="Frame 5"/>
            <p:cNvSpPr>
              <a:spLocks noChangeAspect="1"/>
            </p:cNvSpPr>
            <p:nvPr/>
          </p:nvSpPr>
          <p:spPr bwMode="auto">
            <a:xfrm>
              <a:off x="856938" y="2453809"/>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814417" y="278322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1" name="Frame 5"/>
            <p:cNvSpPr>
              <a:spLocks noChangeAspect="1"/>
            </p:cNvSpPr>
            <p:nvPr/>
          </p:nvSpPr>
          <p:spPr bwMode="auto">
            <a:xfrm>
              <a:off x="856938" y="281945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814417" y="3148898"/>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3" name="Frame 5"/>
            <p:cNvSpPr>
              <a:spLocks noChangeAspect="1"/>
            </p:cNvSpPr>
            <p:nvPr/>
          </p:nvSpPr>
          <p:spPr bwMode="auto">
            <a:xfrm>
              <a:off x="856938" y="3185127"/>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5"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47"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2"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4"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6"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58"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258"/>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sp>
          <p:nvSpPr>
            <p:cNvPr id="260"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74896" fontAlgn="base">
                <a:spcBef>
                  <a:spcPct val="0"/>
                </a:spcBef>
                <a:spcAft>
                  <a:spcPct val="0"/>
                </a:spcAft>
                <a:defRPr/>
              </a:pPr>
              <a:endParaRPr lang="en-US" sz="2353" kern="0" spc="-59"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3 Protocol Adaptation"/>
          <p:cNvGrpSpPr/>
          <p:nvPr/>
        </p:nvGrpSpPr>
        <p:grpSpPr>
          <a:xfrm>
            <a:off x="2957554" y="2430462"/>
            <a:ext cx="830388" cy="1062230"/>
            <a:chOff x="2503269" y="3539000"/>
            <a:chExt cx="901479" cy="1062230"/>
          </a:xfrm>
        </p:grpSpPr>
        <p:sp>
          <p:nvSpPr>
            <p:cNvPr id="17" name="Rectangle 16"/>
            <p:cNvSpPr/>
            <p:nvPr/>
          </p:nvSpPr>
          <p:spPr bwMode="auto">
            <a:xfrm>
              <a:off x="2503269" y="3539000"/>
              <a:ext cx="901479"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67"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8"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69"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1"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74"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16" name="Elbow Connector 15"/>
            <p:cNvCxnSpPr>
              <a:stCxn id="167" idx="3"/>
              <a:endCxn id="171"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Elbow Connector 198"/>
            <p:cNvCxnSpPr>
              <a:stCxn id="168" idx="3"/>
              <a:endCxn id="171"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Elbow Connector 260"/>
            <p:cNvCxnSpPr>
              <a:stCxn id="169" idx="3"/>
              <a:endCxn id="171"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2" name="Elbow Connector 261"/>
            <p:cNvCxnSpPr>
              <a:stCxn id="174" idx="3"/>
              <a:endCxn id="171"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1" name="4  Batch Analytics &amp; Visualizations"/>
          <p:cNvGrpSpPr/>
          <p:nvPr/>
        </p:nvGrpSpPr>
        <p:grpSpPr>
          <a:xfrm>
            <a:off x="5450423" y="2008244"/>
            <a:ext cx="3672108" cy="1204299"/>
            <a:chOff x="5450423" y="2008244"/>
            <a:chExt cx="3672108" cy="1204299"/>
          </a:xfrm>
        </p:grpSpPr>
        <p:sp>
          <p:nvSpPr>
            <p:cNvPr id="20" name="Rectangle 19"/>
            <p:cNvSpPr/>
            <p:nvPr/>
          </p:nvSpPr>
          <p:spPr bwMode="auto">
            <a:xfrm rot="16200000">
              <a:off x="6684327" y="774340"/>
              <a:ext cx="1204299"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b="1"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atch Analytics &amp; Visualization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HDInsight, AzureML, Power BI, </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Data Factory</a:t>
              </a:r>
            </a:p>
          </p:txBody>
        </p:sp>
        <p:sp>
          <p:nvSpPr>
            <p:cNvPr id="170" name="Donut 15"/>
            <p:cNvSpPr/>
            <p:nvPr/>
          </p:nvSpPr>
          <p:spPr bwMode="auto">
            <a:xfrm>
              <a:off x="8211129" y="2347651"/>
              <a:ext cx="201211" cy="200210"/>
            </a:xfrm>
            <a:custGeom>
              <a:avLst/>
              <a:gdLst/>
              <a:ahLst/>
              <a:cxnLst/>
              <a:rect l="l" t="t" r="r" b="b"/>
              <a:pathLst>
                <a:path w="786988" h="783276">
                  <a:moveTo>
                    <a:pt x="469995" y="99669"/>
                  </a:moveTo>
                  <a:cubicBezTo>
                    <a:pt x="349970" y="99669"/>
                    <a:pt x="252671" y="196968"/>
                    <a:pt x="252671" y="316993"/>
                  </a:cubicBezTo>
                  <a:cubicBezTo>
                    <a:pt x="252671" y="437018"/>
                    <a:pt x="349970" y="534317"/>
                    <a:pt x="469995" y="534317"/>
                  </a:cubicBezTo>
                  <a:cubicBezTo>
                    <a:pt x="590020" y="534317"/>
                    <a:pt x="687319" y="437018"/>
                    <a:pt x="687319" y="316993"/>
                  </a:cubicBezTo>
                  <a:cubicBezTo>
                    <a:pt x="687319" y="196968"/>
                    <a:pt x="590020" y="99669"/>
                    <a:pt x="469995" y="99669"/>
                  </a:cubicBezTo>
                  <a:close/>
                  <a:moveTo>
                    <a:pt x="469995" y="0"/>
                  </a:moveTo>
                  <a:cubicBezTo>
                    <a:pt x="645065" y="0"/>
                    <a:pt x="786988" y="141923"/>
                    <a:pt x="786988" y="316993"/>
                  </a:cubicBezTo>
                  <a:cubicBezTo>
                    <a:pt x="786988" y="492063"/>
                    <a:pt x="645065" y="633986"/>
                    <a:pt x="469995" y="633986"/>
                  </a:cubicBezTo>
                  <a:cubicBezTo>
                    <a:pt x="406791" y="633986"/>
                    <a:pt x="347908" y="615489"/>
                    <a:pt x="298782" y="583117"/>
                  </a:cubicBezTo>
                  <a:lnTo>
                    <a:pt x="118646" y="762954"/>
                  </a:lnTo>
                  <a:cubicBezTo>
                    <a:pt x="91472" y="790083"/>
                    <a:pt x="47451" y="790046"/>
                    <a:pt x="20322" y="762872"/>
                  </a:cubicBezTo>
                  <a:cubicBezTo>
                    <a:pt x="-6806" y="735698"/>
                    <a:pt x="-6770" y="691678"/>
                    <a:pt x="20404" y="664549"/>
                  </a:cubicBezTo>
                  <a:lnTo>
                    <a:pt x="201471" y="483783"/>
                  </a:lnTo>
                  <a:cubicBezTo>
                    <a:pt x="170460" y="435720"/>
                    <a:pt x="153002" y="378395"/>
                    <a:pt x="153002" y="316993"/>
                  </a:cubicBezTo>
                  <a:cubicBezTo>
                    <a:pt x="153002" y="141923"/>
                    <a:pt x="294925" y="0"/>
                    <a:pt x="469995" y="0"/>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600" spc="-50" dirty="0">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p:cNvPicPr>
              <a:picLocks noChangeAspect="1"/>
            </p:cNvPicPr>
            <p:nvPr/>
          </p:nvPicPr>
          <p:blipFill rotWithShape="1">
            <a:blip r:embed="rId9"/>
            <a:srcRect l="4124" t="4367" r="3458" b="2343"/>
            <a:stretch/>
          </p:blipFill>
          <p:spPr>
            <a:xfrm>
              <a:off x="8650346" y="2347608"/>
              <a:ext cx="227584" cy="228730"/>
            </a:xfrm>
            <a:prstGeom prst="rect">
              <a:avLst/>
            </a:prstGeom>
          </p:spPr>
        </p:pic>
        <p:pic>
          <p:nvPicPr>
            <p:cNvPr id="68" name="Picture 67"/>
            <p:cNvPicPr>
              <a:picLocks noChangeAspect="1"/>
            </p:cNvPicPr>
            <p:nvPr/>
          </p:nvPicPr>
          <p:blipFill>
            <a:blip r:embed="rId10">
              <a:clrChange>
                <a:clrFrom>
                  <a:srgbClr val="FFFFFF"/>
                </a:clrFrom>
                <a:clrTo>
                  <a:srgbClr val="FFFFFF">
                    <a:alpha val="0"/>
                  </a:srgbClr>
                </a:clrTo>
              </a:clrChange>
            </a:blip>
            <a:stretch>
              <a:fillRect/>
            </a:stretch>
          </p:blipFill>
          <p:spPr>
            <a:xfrm>
              <a:off x="8011778" y="2480749"/>
              <a:ext cx="965079" cy="656115"/>
            </a:xfrm>
            <a:prstGeom prst="rect">
              <a:avLst/>
            </a:prstGeom>
          </p:spPr>
        </p:pic>
      </p:grpSp>
      <p:grpSp>
        <p:nvGrpSpPr>
          <p:cNvPr id="334" name="5 Hot Path Analytics"/>
          <p:cNvGrpSpPr/>
          <p:nvPr/>
        </p:nvGrpSpPr>
        <p:grpSpPr>
          <a:xfrm>
            <a:off x="5450422" y="3328732"/>
            <a:ext cx="3681432" cy="1277142"/>
            <a:chOff x="5450422" y="3278736"/>
            <a:chExt cx="3681432" cy="1184581"/>
          </a:xfrm>
        </p:grpSpPr>
        <p:sp>
          <p:nvSpPr>
            <p:cNvPr id="19" name="Rectangle 18"/>
            <p:cNvSpPr/>
            <p:nvPr/>
          </p:nvSpPr>
          <p:spPr bwMode="auto">
            <a:xfrm rot="16200000">
              <a:off x="6709892" y="2019266"/>
              <a:ext cx="1153167"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Analytics</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zure Stream Analytics, Azure HDInsight Storm</a:t>
              </a:r>
            </a:p>
          </p:txBody>
        </p:sp>
        <p:pic>
          <p:nvPicPr>
            <p:cNvPr id="69" name="Picture 68"/>
            <p:cNvPicPr>
              <a:picLocks noChangeAspect="1"/>
            </p:cNvPicPr>
            <p:nvPr/>
          </p:nvPicPr>
          <p:blipFill>
            <a:blip r:embed="rId11">
              <a:clrChange>
                <a:clrFrom>
                  <a:srgbClr val="FFFFFF"/>
                </a:clrFrom>
                <a:clrTo>
                  <a:srgbClr val="FFFFFF">
                    <a:alpha val="0"/>
                  </a:srgbClr>
                </a:clrTo>
              </a:clrChange>
            </a:blip>
            <a:stretch>
              <a:fillRect/>
            </a:stretch>
          </p:blipFill>
          <p:spPr>
            <a:xfrm>
              <a:off x="8089835" y="3293698"/>
              <a:ext cx="1042019" cy="540305"/>
            </a:xfrm>
            <a:prstGeom prst="rect">
              <a:avLst/>
            </a:prstGeom>
          </p:spPr>
        </p:pic>
        <p:sp>
          <p:nvSpPr>
            <p:cNvPr id="86" name="Freeform 85"/>
            <p:cNvSpPr/>
            <p:nvPr/>
          </p:nvSpPr>
          <p:spPr bwMode="auto">
            <a:xfrm>
              <a:off x="8082643" y="3758837"/>
              <a:ext cx="562569" cy="704480"/>
            </a:xfrm>
            <a:custGeom>
              <a:avLst/>
              <a:gdLst>
                <a:gd name="connsiteX0" fmla="*/ 0 w 562569"/>
                <a:gd name="connsiteY0" fmla="*/ 0 h 704480"/>
                <a:gd name="connsiteX1" fmla="*/ 0 w 562569"/>
                <a:gd name="connsiteY1" fmla="*/ 0 h 704480"/>
                <a:gd name="connsiteX2" fmla="*/ 506186 w 562569"/>
                <a:gd name="connsiteY2" fmla="*/ 568234 h 704480"/>
                <a:gd name="connsiteX3" fmla="*/ 522514 w 562569"/>
                <a:gd name="connsiteY3" fmla="*/ 620486 h 704480"/>
                <a:gd name="connsiteX4" fmla="*/ 535577 w 562569"/>
                <a:gd name="connsiteY4" fmla="*/ 649877 h 704480"/>
                <a:gd name="connsiteX5" fmla="*/ 538843 w 562569"/>
                <a:gd name="connsiteY5" fmla="*/ 666206 h 704480"/>
                <a:gd name="connsiteX6" fmla="*/ 551906 w 562569"/>
                <a:gd name="connsiteY6" fmla="*/ 679269 h 704480"/>
                <a:gd name="connsiteX7" fmla="*/ 551906 w 562569"/>
                <a:gd name="connsiteY7" fmla="*/ 672737 h 7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569" h="704480">
                  <a:moveTo>
                    <a:pt x="0" y="0"/>
                  </a:moveTo>
                  <a:lnTo>
                    <a:pt x="0" y="0"/>
                  </a:lnTo>
                  <a:cubicBezTo>
                    <a:pt x="168729" y="189411"/>
                    <a:pt x="340331" y="376301"/>
                    <a:pt x="506186" y="568234"/>
                  </a:cubicBezTo>
                  <a:cubicBezTo>
                    <a:pt x="525364" y="590428"/>
                    <a:pt x="515255" y="598709"/>
                    <a:pt x="522514" y="620486"/>
                  </a:cubicBezTo>
                  <a:cubicBezTo>
                    <a:pt x="533359" y="653020"/>
                    <a:pt x="530233" y="628504"/>
                    <a:pt x="535577" y="649877"/>
                  </a:cubicBezTo>
                  <a:cubicBezTo>
                    <a:pt x="536923" y="655262"/>
                    <a:pt x="536089" y="661387"/>
                    <a:pt x="538843" y="666206"/>
                  </a:cubicBezTo>
                  <a:cubicBezTo>
                    <a:pt x="601893" y="776543"/>
                    <a:pt x="515111" y="605679"/>
                    <a:pt x="551906" y="679269"/>
                  </a:cubicBezTo>
                  <a:lnTo>
                    <a:pt x="551906" y="672737"/>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nvGrpSpPr>
            <p:cNvPr id="91" name="Group 90"/>
            <p:cNvGrpSpPr/>
            <p:nvPr/>
          </p:nvGrpSpPr>
          <p:grpSpPr>
            <a:xfrm>
              <a:off x="8351817" y="3852488"/>
              <a:ext cx="490879" cy="404121"/>
              <a:chOff x="7675590" y="3471813"/>
              <a:chExt cx="577669" cy="475570"/>
            </a:xfrm>
          </p:grpSpPr>
          <p:sp>
            <p:nvSpPr>
              <p:cNvPr id="299" name="Freeform 298"/>
              <p:cNvSpPr>
                <a:spLocks noEditPoints="1"/>
              </p:cNvSpPr>
              <p:nvPr/>
            </p:nvSpPr>
            <p:spPr bwMode="auto">
              <a:xfrm>
                <a:off x="7779932" y="3471813"/>
                <a:ext cx="473327" cy="475570"/>
              </a:xfrm>
              <a:custGeom>
                <a:avLst/>
                <a:gdLst>
                  <a:gd name="T0" fmla="*/ 27 w 132"/>
                  <a:gd name="T1" fmla="*/ 32 h 132"/>
                  <a:gd name="T2" fmla="*/ 27 w 132"/>
                  <a:gd name="T3" fmla="*/ 40 h 132"/>
                  <a:gd name="T4" fmla="*/ 17 w 132"/>
                  <a:gd name="T5" fmla="*/ 50 h 132"/>
                  <a:gd name="T6" fmla="*/ 1 w 132"/>
                  <a:gd name="T7" fmla="*/ 53 h 132"/>
                  <a:gd name="T8" fmla="*/ 3 w 132"/>
                  <a:gd name="T9" fmla="*/ 67 h 132"/>
                  <a:gd name="T10" fmla="*/ 20 w 132"/>
                  <a:gd name="T11" fmla="*/ 75 h 132"/>
                  <a:gd name="T12" fmla="*/ 20 w 132"/>
                  <a:gd name="T13" fmla="*/ 89 h 132"/>
                  <a:gd name="T14" fmla="*/ 11 w 132"/>
                  <a:gd name="T15" fmla="*/ 102 h 132"/>
                  <a:gd name="T16" fmla="*/ 22 w 132"/>
                  <a:gd name="T17" fmla="*/ 111 h 132"/>
                  <a:gd name="T18" fmla="*/ 40 w 132"/>
                  <a:gd name="T19" fmla="*/ 104 h 132"/>
                  <a:gd name="T20" fmla="*/ 49 w 132"/>
                  <a:gd name="T21" fmla="*/ 114 h 132"/>
                  <a:gd name="T22" fmla="*/ 52 w 132"/>
                  <a:gd name="T23" fmla="*/ 131 h 132"/>
                  <a:gd name="T24" fmla="*/ 67 w 132"/>
                  <a:gd name="T25" fmla="*/ 129 h 132"/>
                  <a:gd name="T26" fmla="*/ 75 w 132"/>
                  <a:gd name="T27" fmla="*/ 111 h 132"/>
                  <a:gd name="T28" fmla="*/ 81 w 132"/>
                  <a:gd name="T29" fmla="*/ 110 h 132"/>
                  <a:gd name="T30" fmla="*/ 88 w 132"/>
                  <a:gd name="T31" fmla="*/ 112 h 132"/>
                  <a:gd name="T32" fmla="*/ 102 w 132"/>
                  <a:gd name="T33" fmla="*/ 121 h 132"/>
                  <a:gd name="T34" fmla="*/ 111 w 132"/>
                  <a:gd name="T35" fmla="*/ 110 h 132"/>
                  <a:gd name="T36" fmla="*/ 104 w 132"/>
                  <a:gd name="T37" fmla="*/ 92 h 132"/>
                  <a:gd name="T38" fmla="*/ 107 w 132"/>
                  <a:gd name="T39" fmla="*/ 86 h 132"/>
                  <a:gd name="T40" fmla="*/ 114 w 132"/>
                  <a:gd name="T41" fmla="*/ 82 h 132"/>
                  <a:gd name="T42" fmla="*/ 130 w 132"/>
                  <a:gd name="T43" fmla="*/ 79 h 132"/>
                  <a:gd name="T44" fmla="*/ 128 w 132"/>
                  <a:gd name="T45" fmla="*/ 65 h 132"/>
                  <a:gd name="T46" fmla="*/ 111 w 132"/>
                  <a:gd name="T47" fmla="*/ 57 h 132"/>
                  <a:gd name="T48" fmla="*/ 110 w 132"/>
                  <a:gd name="T49" fmla="*/ 51 h 132"/>
                  <a:gd name="T50" fmla="*/ 112 w 132"/>
                  <a:gd name="T51" fmla="*/ 43 h 132"/>
                  <a:gd name="T52" fmla="*/ 121 w 132"/>
                  <a:gd name="T53" fmla="*/ 30 h 132"/>
                  <a:gd name="T54" fmla="*/ 109 w 132"/>
                  <a:gd name="T55" fmla="*/ 21 h 132"/>
                  <a:gd name="T56" fmla="*/ 91 w 132"/>
                  <a:gd name="T57" fmla="*/ 27 h 132"/>
                  <a:gd name="T58" fmla="*/ 86 w 132"/>
                  <a:gd name="T59" fmla="*/ 25 h 132"/>
                  <a:gd name="T60" fmla="*/ 82 w 132"/>
                  <a:gd name="T61" fmla="*/ 18 h 132"/>
                  <a:gd name="T62" fmla="*/ 79 w 132"/>
                  <a:gd name="T63" fmla="*/ 1 h 132"/>
                  <a:gd name="T64" fmla="*/ 65 w 132"/>
                  <a:gd name="T65" fmla="*/ 3 h 132"/>
                  <a:gd name="T66" fmla="*/ 57 w 132"/>
                  <a:gd name="T67" fmla="*/ 21 h 132"/>
                  <a:gd name="T68" fmla="*/ 51 w 132"/>
                  <a:gd name="T69" fmla="*/ 22 h 132"/>
                  <a:gd name="T70" fmla="*/ 43 w 132"/>
                  <a:gd name="T71" fmla="*/ 20 h 132"/>
                  <a:gd name="T72" fmla="*/ 29 w 132"/>
                  <a:gd name="T73" fmla="*/ 11 h 132"/>
                  <a:gd name="T74" fmla="*/ 21 w 132"/>
                  <a:gd name="T75" fmla="*/ 22 h 132"/>
                  <a:gd name="T76" fmla="*/ 80 w 132"/>
                  <a:gd name="T77" fmla="*/ 85 h 132"/>
                  <a:gd name="T78" fmla="*/ 51 w 132"/>
                  <a:gd name="T79"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2">
                    <a:moveTo>
                      <a:pt x="21" y="22"/>
                    </a:moveTo>
                    <a:cubicBezTo>
                      <a:pt x="27" y="32"/>
                      <a:pt x="27" y="32"/>
                      <a:pt x="27" y="32"/>
                    </a:cubicBezTo>
                    <a:cubicBezTo>
                      <a:pt x="29" y="36"/>
                      <a:pt x="29" y="38"/>
                      <a:pt x="27" y="40"/>
                    </a:cubicBezTo>
                    <a:cubicBezTo>
                      <a:pt x="27" y="40"/>
                      <a:pt x="27" y="40"/>
                      <a:pt x="27" y="40"/>
                    </a:cubicBezTo>
                    <a:cubicBezTo>
                      <a:pt x="26" y="42"/>
                      <a:pt x="25" y="44"/>
                      <a:pt x="24" y="46"/>
                    </a:cubicBezTo>
                    <a:cubicBezTo>
                      <a:pt x="23" y="48"/>
                      <a:pt x="21" y="50"/>
                      <a:pt x="17" y="50"/>
                    </a:cubicBezTo>
                    <a:cubicBezTo>
                      <a:pt x="5" y="49"/>
                      <a:pt x="5" y="49"/>
                      <a:pt x="5" y="49"/>
                    </a:cubicBezTo>
                    <a:cubicBezTo>
                      <a:pt x="3" y="49"/>
                      <a:pt x="1" y="51"/>
                      <a:pt x="1" y="53"/>
                    </a:cubicBezTo>
                    <a:cubicBezTo>
                      <a:pt x="0" y="62"/>
                      <a:pt x="0" y="62"/>
                      <a:pt x="0" y="62"/>
                    </a:cubicBezTo>
                    <a:cubicBezTo>
                      <a:pt x="0" y="64"/>
                      <a:pt x="1" y="66"/>
                      <a:pt x="3" y="67"/>
                    </a:cubicBezTo>
                    <a:cubicBezTo>
                      <a:pt x="15" y="69"/>
                      <a:pt x="15" y="69"/>
                      <a:pt x="15" y="69"/>
                    </a:cubicBezTo>
                    <a:cubicBezTo>
                      <a:pt x="18" y="70"/>
                      <a:pt x="20" y="72"/>
                      <a:pt x="20" y="75"/>
                    </a:cubicBezTo>
                    <a:cubicBezTo>
                      <a:pt x="21" y="77"/>
                      <a:pt x="21" y="79"/>
                      <a:pt x="22" y="82"/>
                    </a:cubicBezTo>
                    <a:cubicBezTo>
                      <a:pt x="23" y="84"/>
                      <a:pt x="23" y="86"/>
                      <a:pt x="20" y="89"/>
                    </a:cubicBezTo>
                    <a:cubicBezTo>
                      <a:pt x="11" y="97"/>
                      <a:pt x="11" y="97"/>
                      <a:pt x="11" y="97"/>
                    </a:cubicBezTo>
                    <a:cubicBezTo>
                      <a:pt x="10" y="98"/>
                      <a:pt x="10" y="101"/>
                      <a:pt x="11" y="102"/>
                    </a:cubicBezTo>
                    <a:cubicBezTo>
                      <a:pt x="17" y="110"/>
                      <a:pt x="17" y="110"/>
                      <a:pt x="17" y="110"/>
                    </a:cubicBezTo>
                    <a:cubicBezTo>
                      <a:pt x="18" y="111"/>
                      <a:pt x="20" y="112"/>
                      <a:pt x="22" y="111"/>
                    </a:cubicBezTo>
                    <a:cubicBezTo>
                      <a:pt x="32" y="105"/>
                      <a:pt x="32" y="105"/>
                      <a:pt x="32" y="105"/>
                    </a:cubicBezTo>
                    <a:cubicBezTo>
                      <a:pt x="36" y="102"/>
                      <a:pt x="38" y="103"/>
                      <a:pt x="40" y="104"/>
                    </a:cubicBezTo>
                    <a:cubicBezTo>
                      <a:pt x="42" y="106"/>
                      <a:pt x="44" y="107"/>
                      <a:pt x="45" y="108"/>
                    </a:cubicBezTo>
                    <a:cubicBezTo>
                      <a:pt x="48" y="108"/>
                      <a:pt x="49" y="110"/>
                      <a:pt x="49" y="114"/>
                    </a:cubicBezTo>
                    <a:cubicBezTo>
                      <a:pt x="49" y="126"/>
                      <a:pt x="49" y="126"/>
                      <a:pt x="49" y="126"/>
                    </a:cubicBezTo>
                    <a:cubicBezTo>
                      <a:pt x="49" y="129"/>
                      <a:pt x="51" y="130"/>
                      <a:pt x="52" y="131"/>
                    </a:cubicBezTo>
                    <a:cubicBezTo>
                      <a:pt x="62" y="132"/>
                      <a:pt x="62" y="132"/>
                      <a:pt x="62" y="132"/>
                    </a:cubicBezTo>
                    <a:cubicBezTo>
                      <a:pt x="64" y="132"/>
                      <a:pt x="66" y="131"/>
                      <a:pt x="67" y="129"/>
                    </a:cubicBezTo>
                    <a:cubicBezTo>
                      <a:pt x="69" y="117"/>
                      <a:pt x="69" y="117"/>
                      <a:pt x="69" y="117"/>
                    </a:cubicBezTo>
                    <a:cubicBezTo>
                      <a:pt x="70" y="113"/>
                      <a:pt x="72" y="112"/>
                      <a:pt x="75" y="111"/>
                    </a:cubicBezTo>
                    <a:cubicBezTo>
                      <a:pt x="75" y="111"/>
                      <a:pt x="75" y="111"/>
                      <a:pt x="75" y="111"/>
                    </a:cubicBezTo>
                    <a:cubicBezTo>
                      <a:pt x="77" y="111"/>
                      <a:pt x="79" y="110"/>
                      <a:pt x="81" y="110"/>
                    </a:cubicBezTo>
                    <a:cubicBezTo>
                      <a:pt x="81" y="110"/>
                      <a:pt x="81" y="110"/>
                      <a:pt x="81" y="110"/>
                    </a:cubicBezTo>
                    <a:cubicBezTo>
                      <a:pt x="83" y="109"/>
                      <a:pt x="85" y="109"/>
                      <a:pt x="88" y="112"/>
                    </a:cubicBezTo>
                    <a:cubicBezTo>
                      <a:pt x="97" y="120"/>
                      <a:pt x="97" y="120"/>
                      <a:pt x="97" y="120"/>
                    </a:cubicBezTo>
                    <a:cubicBezTo>
                      <a:pt x="98" y="122"/>
                      <a:pt x="101" y="122"/>
                      <a:pt x="102" y="121"/>
                    </a:cubicBezTo>
                    <a:cubicBezTo>
                      <a:pt x="110" y="115"/>
                      <a:pt x="110" y="115"/>
                      <a:pt x="110" y="115"/>
                    </a:cubicBezTo>
                    <a:cubicBezTo>
                      <a:pt x="111" y="114"/>
                      <a:pt x="112" y="112"/>
                      <a:pt x="111" y="110"/>
                    </a:cubicBezTo>
                    <a:cubicBezTo>
                      <a:pt x="104" y="100"/>
                      <a:pt x="104" y="100"/>
                      <a:pt x="104" y="100"/>
                    </a:cubicBezTo>
                    <a:cubicBezTo>
                      <a:pt x="102" y="96"/>
                      <a:pt x="103" y="94"/>
                      <a:pt x="104" y="92"/>
                    </a:cubicBezTo>
                    <a:cubicBezTo>
                      <a:pt x="104" y="92"/>
                      <a:pt x="104" y="91"/>
                      <a:pt x="104" y="91"/>
                    </a:cubicBezTo>
                    <a:cubicBezTo>
                      <a:pt x="105" y="90"/>
                      <a:pt x="106" y="88"/>
                      <a:pt x="107" y="86"/>
                    </a:cubicBezTo>
                    <a:cubicBezTo>
                      <a:pt x="107" y="86"/>
                      <a:pt x="107" y="86"/>
                      <a:pt x="107" y="86"/>
                    </a:cubicBezTo>
                    <a:cubicBezTo>
                      <a:pt x="108" y="84"/>
                      <a:pt x="110" y="82"/>
                      <a:pt x="114" y="82"/>
                    </a:cubicBezTo>
                    <a:cubicBezTo>
                      <a:pt x="126" y="83"/>
                      <a:pt x="126" y="83"/>
                      <a:pt x="126" y="83"/>
                    </a:cubicBezTo>
                    <a:cubicBezTo>
                      <a:pt x="128" y="83"/>
                      <a:pt x="130" y="81"/>
                      <a:pt x="130" y="79"/>
                    </a:cubicBezTo>
                    <a:cubicBezTo>
                      <a:pt x="132" y="70"/>
                      <a:pt x="132" y="70"/>
                      <a:pt x="132" y="70"/>
                    </a:cubicBezTo>
                    <a:cubicBezTo>
                      <a:pt x="132" y="68"/>
                      <a:pt x="131" y="66"/>
                      <a:pt x="128" y="65"/>
                    </a:cubicBezTo>
                    <a:cubicBezTo>
                      <a:pt x="117" y="63"/>
                      <a:pt x="117" y="63"/>
                      <a:pt x="117" y="63"/>
                    </a:cubicBezTo>
                    <a:cubicBezTo>
                      <a:pt x="113" y="61"/>
                      <a:pt x="112" y="59"/>
                      <a:pt x="111" y="57"/>
                    </a:cubicBezTo>
                    <a:cubicBezTo>
                      <a:pt x="111" y="57"/>
                      <a:pt x="111" y="57"/>
                      <a:pt x="111" y="57"/>
                    </a:cubicBezTo>
                    <a:cubicBezTo>
                      <a:pt x="111" y="55"/>
                      <a:pt x="110" y="53"/>
                      <a:pt x="110" y="51"/>
                    </a:cubicBezTo>
                    <a:cubicBezTo>
                      <a:pt x="110" y="51"/>
                      <a:pt x="110" y="51"/>
                      <a:pt x="110" y="51"/>
                    </a:cubicBezTo>
                    <a:cubicBezTo>
                      <a:pt x="109" y="49"/>
                      <a:pt x="109" y="46"/>
                      <a:pt x="112" y="43"/>
                    </a:cubicBezTo>
                    <a:cubicBezTo>
                      <a:pt x="120" y="35"/>
                      <a:pt x="120" y="35"/>
                      <a:pt x="120" y="35"/>
                    </a:cubicBezTo>
                    <a:cubicBezTo>
                      <a:pt x="122" y="34"/>
                      <a:pt x="122" y="31"/>
                      <a:pt x="121" y="30"/>
                    </a:cubicBezTo>
                    <a:cubicBezTo>
                      <a:pt x="115" y="22"/>
                      <a:pt x="115" y="22"/>
                      <a:pt x="115" y="22"/>
                    </a:cubicBezTo>
                    <a:cubicBezTo>
                      <a:pt x="114" y="21"/>
                      <a:pt x="112" y="20"/>
                      <a:pt x="109" y="21"/>
                    </a:cubicBezTo>
                    <a:cubicBezTo>
                      <a:pt x="100" y="27"/>
                      <a:pt x="100" y="27"/>
                      <a:pt x="100" y="27"/>
                    </a:cubicBezTo>
                    <a:cubicBezTo>
                      <a:pt x="96" y="30"/>
                      <a:pt x="93" y="29"/>
                      <a:pt x="91" y="27"/>
                    </a:cubicBezTo>
                    <a:cubicBezTo>
                      <a:pt x="91" y="27"/>
                      <a:pt x="91" y="27"/>
                      <a:pt x="91" y="27"/>
                    </a:cubicBezTo>
                    <a:cubicBezTo>
                      <a:pt x="90" y="26"/>
                      <a:pt x="88" y="25"/>
                      <a:pt x="86" y="25"/>
                    </a:cubicBezTo>
                    <a:cubicBezTo>
                      <a:pt x="86" y="25"/>
                      <a:pt x="86" y="24"/>
                      <a:pt x="86" y="24"/>
                    </a:cubicBezTo>
                    <a:cubicBezTo>
                      <a:pt x="84" y="23"/>
                      <a:pt x="82" y="22"/>
                      <a:pt x="82" y="18"/>
                    </a:cubicBezTo>
                    <a:cubicBezTo>
                      <a:pt x="82" y="6"/>
                      <a:pt x="82" y="6"/>
                      <a:pt x="82" y="6"/>
                    </a:cubicBezTo>
                    <a:cubicBezTo>
                      <a:pt x="82" y="3"/>
                      <a:pt x="80" y="1"/>
                      <a:pt x="79" y="1"/>
                    </a:cubicBezTo>
                    <a:cubicBezTo>
                      <a:pt x="69" y="0"/>
                      <a:pt x="69" y="0"/>
                      <a:pt x="69" y="0"/>
                    </a:cubicBezTo>
                    <a:cubicBezTo>
                      <a:pt x="68" y="0"/>
                      <a:pt x="66" y="1"/>
                      <a:pt x="65" y="3"/>
                    </a:cubicBezTo>
                    <a:cubicBezTo>
                      <a:pt x="62" y="15"/>
                      <a:pt x="62" y="15"/>
                      <a:pt x="62" y="15"/>
                    </a:cubicBezTo>
                    <a:cubicBezTo>
                      <a:pt x="61" y="19"/>
                      <a:pt x="59" y="20"/>
                      <a:pt x="57" y="21"/>
                    </a:cubicBezTo>
                    <a:cubicBezTo>
                      <a:pt x="57" y="21"/>
                      <a:pt x="57" y="21"/>
                      <a:pt x="57" y="21"/>
                    </a:cubicBezTo>
                    <a:cubicBezTo>
                      <a:pt x="55" y="21"/>
                      <a:pt x="53" y="22"/>
                      <a:pt x="51" y="22"/>
                    </a:cubicBezTo>
                    <a:cubicBezTo>
                      <a:pt x="51" y="22"/>
                      <a:pt x="51" y="22"/>
                      <a:pt x="51" y="22"/>
                    </a:cubicBezTo>
                    <a:cubicBezTo>
                      <a:pt x="48" y="23"/>
                      <a:pt x="46" y="23"/>
                      <a:pt x="43" y="20"/>
                    </a:cubicBezTo>
                    <a:cubicBezTo>
                      <a:pt x="35" y="12"/>
                      <a:pt x="35" y="12"/>
                      <a:pt x="35" y="12"/>
                    </a:cubicBezTo>
                    <a:cubicBezTo>
                      <a:pt x="33" y="10"/>
                      <a:pt x="31" y="10"/>
                      <a:pt x="29" y="11"/>
                    </a:cubicBezTo>
                    <a:cubicBezTo>
                      <a:pt x="22" y="17"/>
                      <a:pt x="22" y="17"/>
                      <a:pt x="22" y="17"/>
                    </a:cubicBezTo>
                    <a:cubicBezTo>
                      <a:pt x="21" y="18"/>
                      <a:pt x="20" y="20"/>
                      <a:pt x="21" y="22"/>
                    </a:cubicBezTo>
                    <a:close/>
                    <a:moveTo>
                      <a:pt x="85" y="51"/>
                    </a:moveTo>
                    <a:cubicBezTo>
                      <a:pt x="93" y="62"/>
                      <a:pt x="91" y="77"/>
                      <a:pt x="80" y="85"/>
                    </a:cubicBezTo>
                    <a:cubicBezTo>
                      <a:pt x="70" y="93"/>
                      <a:pt x="55" y="91"/>
                      <a:pt x="47" y="81"/>
                    </a:cubicBezTo>
                    <a:cubicBezTo>
                      <a:pt x="38" y="70"/>
                      <a:pt x="40" y="55"/>
                      <a:pt x="51" y="47"/>
                    </a:cubicBezTo>
                    <a:cubicBezTo>
                      <a:pt x="62" y="39"/>
                      <a:pt x="77" y="41"/>
                      <a:pt x="85" y="51"/>
                    </a:cubicBez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b" anchorCtr="0" forceAA="0" compatLnSpc="1">
                <a:prstTxWarp prst="textNoShape">
                  <a:avLst/>
                </a:prstTxWarp>
                <a:noAutofit/>
              </a:bodyPr>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7782698" y="3571498"/>
                <a:ext cx="341279" cy="239441"/>
                <a:chOff x="9441838" y="3565088"/>
                <a:chExt cx="1231545" cy="864052"/>
              </a:xfrm>
              <a:solidFill>
                <a:schemeClr val="bg1"/>
              </a:solidFill>
            </p:grpSpPr>
            <p:sp>
              <p:nvSpPr>
                <p:cNvPr id="87" name="Oval 86"/>
                <p:cNvSpPr/>
                <p:nvPr/>
              </p:nvSpPr>
              <p:spPr bwMode="auto">
                <a:xfrm>
                  <a:off x="9916043" y="3671804"/>
                  <a:ext cx="757340" cy="75733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300" name="Oval 299"/>
                <p:cNvSpPr/>
                <p:nvPr/>
              </p:nvSpPr>
              <p:spPr bwMode="auto">
                <a:xfrm>
                  <a:off x="9441838" y="3565088"/>
                  <a:ext cx="971392" cy="57492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Freeform 80"/>
              <p:cNvSpPr/>
              <p:nvPr/>
            </p:nvSpPr>
            <p:spPr bwMode="auto">
              <a:xfrm>
                <a:off x="7726563" y="3624414"/>
                <a:ext cx="311448" cy="74608"/>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Lst>
                <a:ahLst/>
                <a:cxnLst>
                  <a:cxn ang="0">
                    <a:pos x="connsiteX0" y="connsiteY0"/>
                  </a:cxn>
                  <a:cxn ang="0">
                    <a:pos x="connsiteX1" y="connsiteY1"/>
                  </a:cxn>
                  <a:cxn ang="0">
                    <a:pos x="connsiteX2" y="connsiteY2"/>
                  </a:cxn>
                </a:cxnLst>
                <a:rect l="l" t="t" r="r" b="b"/>
                <a:pathLst>
                  <a:path w="10784" h="20445">
                    <a:moveTo>
                      <a:pt x="10784" y="15756"/>
                    </a:moveTo>
                    <a:cubicBezTo>
                      <a:pt x="6939" y="-15198"/>
                      <a:pt x="4490" y="7431"/>
                      <a:pt x="2974" y="16574"/>
                    </a:cubicBezTo>
                    <a:cubicBezTo>
                      <a:pt x="1458" y="25717"/>
                      <a:pt x="393" y="16153"/>
                      <a:pt x="0" y="13449"/>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7" name="Freeform 296"/>
              <p:cNvSpPr/>
              <p:nvPr/>
            </p:nvSpPr>
            <p:spPr bwMode="auto">
              <a:xfrm>
                <a:off x="7675590" y="3678237"/>
                <a:ext cx="313120" cy="71900"/>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5201 h 21304"/>
                  <a:gd name="connsiteX1" fmla="*/ 5063 w 10784"/>
                  <a:gd name="connsiteY1" fmla="*/ 17805 h 21304"/>
                  <a:gd name="connsiteX2" fmla="*/ 0 w 10784"/>
                  <a:gd name="connsiteY2" fmla="*/ 12894 h 21304"/>
                  <a:gd name="connsiteX0" fmla="*/ 10784 w 10784"/>
                  <a:gd name="connsiteY0" fmla="*/ 14472 h 19292"/>
                  <a:gd name="connsiteX1" fmla="*/ 5063 w 10784"/>
                  <a:gd name="connsiteY1" fmla="*/ 17076 h 19292"/>
                  <a:gd name="connsiteX2" fmla="*/ 0 w 10784"/>
                  <a:gd name="connsiteY2" fmla="*/ 12165 h 19292"/>
                  <a:gd name="connsiteX0" fmla="*/ 10784 w 10784"/>
                  <a:gd name="connsiteY0" fmla="*/ 11390 h 16210"/>
                  <a:gd name="connsiteX1" fmla="*/ 5063 w 10784"/>
                  <a:gd name="connsiteY1" fmla="*/ 13994 h 16210"/>
                  <a:gd name="connsiteX2" fmla="*/ 0 w 10784"/>
                  <a:gd name="connsiteY2" fmla="*/ 9083 h 16210"/>
                  <a:gd name="connsiteX0" fmla="*/ 10784 w 10784"/>
                  <a:gd name="connsiteY0" fmla="*/ 11390 h 19703"/>
                  <a:gd name="connsiteX1" fmla="*/ 5063 w 10784"/>
                  <a:gd name="connsiteY1" fmla="*/ 13994 h 19703"/>
                  <a:gd name="connsiteX2" fmla="*/ 0 w 10784"/>
                  <a:gd name="connsiteY2" fmla="*/ 9083 h 19703"/>
                </a:gdLst>
                <a:ahLst/>
                <a:cxnLst>
                  <a:cxn ang="0">
                    <a:pos x="connsiteX0" y="connsiteY0"/>
                  </a:cxn>
                  <a:cxn ang="0">
                    <a:pos x="connsiteX1" y="connsiteY1"/>
                  </a:cxn>
                  <a:cxn ang="0">
                    <a:pos x="connsiteX2" y="connsiteY2"/>
                  </a:cxn>
                </a:cxnLst>
                <a:rect l="l" t="t" r="r" b="b"/>
                <a:pathLst>
                  <a:path w="10784" h="19703">
                    <a:moveTo>
                      <a:pt x="10784" y="11390"/>
                    </a:moveTo>
                    <a:cubicBezTo>
                      <a:pt x="7502" y="-12617"/>
                      <a:pt x="6086" y="7828"/>
                      <a:pt x="5063" y="13994"/>
                    </a:cubicBezTo>
                    <a:cubicBezTo>
                      <a:pt x="4040" y="20160"/>
                      <a:pt x="1731" y="24689"/>
                      <a:pt x="0" y="9083"/>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sp>
            <p:nvSpPr>
              <p:cNvPr id="298" name="Freeform 297"/>
              <p:cNvSpPr/>
              <p:nvPr/>
            </p:nvSpPr>
            <p:spPr bwMode="auto">
              <a:xfrm>
                <a:off x="7675591" y="3738652"/>
                <a:ext cx="307517" cy="73724"/>
              </a:xfrm>
              <a:custGeom>
                <a:avLst/>
                <a:gdLst>
                  <a:gd name="connsiteX0" fmla="*/ 416719 w 416719"/>
                  <a:gd name="connsiteY0" fmla="*/ 0 h 0"/>
                  <a:gd name="connsiteX1" fmla="*/ 119063 w 416719"/>
                  <a:gd name="connsiteY1" fmla="*/ 0 h 0"/>
                  <a:gd name="connsiteX2" fmla="*/ 0 w 416719"/>
                  <a:gd name="connsiteY2" fmla="*/ 0 h 0"/>
                  <a:gd name="connsiteX0" fmla="*/ 10000 w 10000"/>
                  <a:gd name="connsiteY0" fmla="*/ 12963 h 12963"/>
                  <a:gd name="connsiteX1" fmla="*/ 2857 w 10000"/>
                  <a:gd name="connsiteY1" fmla="*/ 12963 h 12963"/>
                  <a:gd name="connsiteX2" fmla="*/ 0 w 10000"/>
                  <a:gd name="connsiteY2" fmla="*/ 12963 h 12963"/>
                  <a:gd name="connsiteX0" fmla="*/ 10678 w 10678"/>
                  <a:gd name="connsiteY0" fmla="*/ 12735 h 13854"/>
                  <a:gd name="connsiteX1" fmla="*/ 2857 w 10678"/>
                  <a:gd name="connsiteY1" fmla="*/ 13777 h 13854"/>
                  <a:gd name="connsiteX2" fmla="*/ 0 w 10678"/>
                  <a:gd name="connsiteY2" fmla="*/ 13777 h 13854"/>
                  <a:gd name="connsiteX0" fmla="*/ 10678 w 10678"/>
                  <a:gd name="connsiteY0" fmla="*/ 15733 h 17561"/>
                  <a:gd name="connsiteX1" fmla="*/ 2857 w 10678"/>
                  <a:gd name="connsiteY1" fmla="*/ 16775 h 17561"/>
                  <a:gd name="connsiteX2" fmla="*/ 0 w 10678"/>
                  <a:gd name="connsiteY2" fmla="*/ 16775 h 17561"/>
                  <a:gd name="connsiteX0" fmla="*/ 10678 w 10678"/>
                  <a:gd name="connsiteY0" fmla="*/ 14840 h 16205"/>
                  <a:gd name="connsiteX1" fmla="*/ 2857 w 10678"/>
                  <a:gd name="connsiteY1" fmla="*/ 15882 h 16205"/>
                  <a:gd name="connsiteX2" fmla="*/ 0 w 10678"/>
                  <a:gd name="connsiteY2" fmla="*/ 15882 h 16205"/>
                  <a:gd name="connsiteX0" fmla="*/ 10678 w 10678"/>
                  <a:gd name="connsiteY0" fmla="*/ 12856 h 14221"/>
                  <a:gd name="connsiteX1" fmla="*/ 2857 w 10678"/>
                  <a:gd name="connsiteY1" fmla="*/ 13898 h 14221"/>
                  <a:gd name="connsiteX2" fmla="*/ 0 w 10678"/>
                  <a:gd name="connsiteY2" fmla="*/ 13898 h 14221"/>
                  <a:gd name="connsiteX0" fmla="*/ 10678 w 10678"/>
                  <a:gd name="connsiteY0" fmla="*/ 14334 h 18477"/>
                  <a:gd name="connsiteX1" fmla="*/ 2857 w 10678"/>
                  <a:gd name="connsiteY1" fmla="*/ 15376 h 18477"/>
                  <a:gd name="connsiteX2" fmla="*/ 0 w 10678"/>
                  <a:gd name="connsiteY2" fmla="*/ 15376 h 18477"/>
                  <a:gd name="connsiteX0" fmla="*/ 10678 w 10678"/>
                  <a:gd name="connsiteY0" fmla="*/ 14334 h 20152"/>
                  <a:gd name="connsiteX1" fmla="*/ 2857 w 10678"/>
                  <a:gd name="connsiteY1" fmla="*/ 15376 h 20152"/>
                  <a:gd name="connsiteX2" fmla="*/ 0 w 10678"/>
                  <a:gd name="connsiteY2" fmla="*/ 15376 h 20152"/>
                  <a:gd name="connsiteX0" fmla="*/ 10432 w 10432"/>
                  <a:gd name="connsiteY0" fmla="*/ 12680 h 15159"/>
                  <a:gd name="connsiteX1" fmla="*/ 2611 w 10432"/>
                  <a:gd name="connsiteY1" fmla="*/ 13722 h 15159"/>
                  <a:gd name="connsiteX2" fmla="*/ 0 w 10432"/>
                  <a:gd name="connsiteY2" fmla="*/ 12159 h 15159"/>
                  <a:gd name="connsiteX0" fmla="*/ 10432 w 10432"/>
                  <a:gd name="connsiteY0" fmla="*/ 12680 h 17438"/>
                  <a:gd name="connsiteX1" fmla="*/ 2611 w 10432"/>
                  <a:gd name="connsiteY1" fmla="*/ 13722 h 17438"/>
                  <a:gd name="connsiteX2" fmla="*/ 0 w 10432"/>
                  <a:gd name="connsiteY2" fmla="*/ 12159 h 17438"/>
                  <a:gd name="connsiteX0" fmla="*/ 10432 w 10432"/>
                  <a:gd name="connsiteY0" fmla="*/ 16576 h 26751"/>
                  <a:gd name="connsiteX1" fmla="*/ 2611 w 10432"/>
                  <a:gd name="connsiteY1" fmla="*/ 17618 h 26751"/>
                  <a:gd name="connsiteX2" fmla="*/ 0 w 10432"/>
                  <a:gd name="connsiteY2" fmla="*/ 16055 h 26751"/>
                  <a:gd name="connsiteX0" fmla="*/ 10432 w 10432"/>
                  <a:gd name="connsiteY0" fmla="*/ 15512 h 24190"/>
                  <a:gd name="connsiteX1" fmla="*/ 2611 w 10432"/>
                  <a:gd name="connsiteY1" fmla="*/ 16554 h 24190"/>
                  <a:gd name="connsiteX2" fmla="*/ 0 w 10432"/>
                  <a:gd name="connsiteY2" fmla="*/ 14991 h 24190"/>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019"/>
                  <a:gd name="connsiteX1" fmla="*/ 2611 w 10432"/>
                  <a:gd name="connsiteY1" fmla="*/ 16554 h 23019"/>
                  <a:gd name="connsiteX2" fmla="*/ 0 w 10432"/>
                  <a:gd name="connsiteY2" fmla="*/ 14991 h 23019"/>
                  <a:gd name="connsiteX0" fmla="*/ 10432 w 10432"/>
                  <a:gd name="connsiteY0" fmla="*/ 15512 h 23176"/>
                  <a:gd name="connsiteX1" fmla="*/ 2611 w 10432"/>
                  <a:gd name="connsiteY1" fmla="*/ 16554 h 23176"/>
                  <a:gd name="connsiteX2" fmla="*/ 0 w 10432"/>
                  <a:gd name="connsiteY2" fmla="*/ 14991 h 23176"/>
                  <a:gd name="connsiteX0" fmla="*/ 10432 w 10432"/>
                  <a:gd name="connsiteY0" fmla="*/ 14392 h 20322"/>
                  <a:gd name="connsiteX1" fmla="*/ 2611 w 10432"/>
                  <a:gd name="connsiteY1" fmla="*/ 15434 h 20322"/>
                  <a:gd name="connsiteX2" fmla="*/ 0 w 10432"/>
                  <a:gd name="connsiteY2" fmla="*/ 13871 h 20322"/>
                  <a:gd name="connsiteX0" fmla="*/ 10432 w 10432"/>
                  <a:gd name="connsiteY0" fmla="*/ 14392 h 22269"/>
                  <a:gd name="connsiteX1" fmla="*/ 2611 w 10432"/>
                  <a:gd name="connsiteY1" fmla="*/ 15434 h 22269"/>
                  <a:gd name="connsiteX2" fmla="*/ 0 w 10432"/>
                  <a:gd name="connsiteY2" fmla="*/ 13871 h 22269"/>
                  <a:gd name="connsiteX0" fmla="*/ 10432 w 10432"/>
                  <a:gd name="connsiteY0" fmla="*/ 14392 h 18371"/>
                  <a:gd name="connsiteX1" fmla="*/ 2611 w 10432"/>
                  <a:gd name="connsiteY1" fmla="*/ 15434 h 18371"/>
                  <a:gd name="connsiteX2" fmla="*/ 0 w 10432"/>
                  <a:gd name="connsiteY2" fmla="*/ 13871 h 18371"/>
                  <a:gd name="connsiteX0" fmla="*/ 10432 w 10432"/>
                  <a:gd name="connsiteY0" fmla="*/ 15511 h 21334"/>
                  <a:gd name="connsiteX1" fmla="*/ 2611 w 10432"/>
                  <a:gd name="connsiteY1" fmla="*/ 16553 h 21334"/>
                  <a:gd name="connsiteX2" fmla="*/ 0 w 10432"/>
                  <a:gd name="connsiteY2" fmla="*/ 14990 h 21334"/>
                  <a:gd name="connsiteX0" fmla="*/ 10432 w 10432"/>
                  <a:gd name="connsiteY0" fmla="*/ 14827 h 22294"/>
                  <a:gd name="connsiteX1" fmla="*/ 2919 w 10432"/>
                  <a:gd name="connsiteY1" fmla="*/ 17952 h 22294"/>
                  <a:gd name="connsiteX2" fmla="*/ 0 w 10432"/>
                  <a:gd name="connsiteY2" fmla="*/ 14306 h 22294"/>
                  <a:gd name="connsiteX0" fmla="*/ 10432 w 10432"/>
                  <a:gd name="connsiteY0" fmla="*/ 14993 h 22041"/>
                  <a:gd name="connsiteX1" fmla="*/ 2857 w 10432"/>
                  <a:gd name="connsiteY1" fmla="*/ 17597 h 22041"/>
                  <a:gd name="connsiteX2" fmla="*/ 0 w 10432"/>
                  <a:gd name="connsiteY2" fmla="*/ 14472 h 22041"/>
                  <a:gd name="connsiteX0" fmla="*/ 10432 w 10432"/>
                  <a:gd name="connsiteY0" fmla="*/ 15710 h 23901"/>
                  <a:gd name="connsiteX1" fmla="*/ 2857 w 10432"/>
                  <a:gd name="connsiteY1" fmla="*/ 18314 h 23901"/>
                  <a:gd name="connsiteX2" fmla="*/ 0 w 10432"/>
                  <a:gd name="connsiteY2" fmla="*/ 15189 h 23901"/>
                  <a:gd name="connsiteX0" fmla="*/ 10432 w 10432"/>
                  <a:gd name="connsiteY0" fmla="*/ 14855 h 21675"/>
                  <a:gd name="connsiteX1" fmla="*/ 2857 w 10432"/>
                  <a:gd name="connsiteY1" fmla="*/ 17459 h 21675"/>
                  <a:gd name="connsiteX2" fmla="*/ 0 w 10432"/>
                  <a:gd name="connsiteY2" fmla="*/ 14334 h 21675"/>
                  <a:gd name="connsiteX0" fmla="*/ 10784 w 10784"/>
                  <a:gd name="connsiteY0" fmla="*/ 12672 h 13493"/>
                  <a:gd name="connsiteX1" fmla="*/ 2857 w 10784"/>
                  <a:gd name="connsiteY1" fmla="*/ 13490 h 13493"/>
                  <a:gd name="connsiteX2" fmla="*/ 0 w 10784"/>
                  <a:gd name="connsiteY2" fmla="*/ 10365 h 13493"/>
                  <a:gd name="connsiteX0" fmla="*/ 10784 w 10784"/>
                  <a:gd name="connsiteY0" fmla="*/ 16552 h 17372"/>
                  <a:gd name="connsiteX1" fmla="*/ 2857 w 10784"/>
                  <a:gd name="connsiteY1" fmla="*/ 17370 h 17372"/>
                  <a:gd name="connsiteX2" fmla="*/ 0 w 10784"/>
                  <a:gd name="connsiteY2" fmla="*/ 14245 h 17372"/>
                  <a:gd name="connsiteX0" fmla="*/ 10784 w 10784"/>
                  <a:gd name="connsiteY0" fmla="*/ 19121 h 23929"/>
                  <a:gd name="connsiteX1" fmla="*/ 2857 w 10784"/>
                  <a:gd name="connsiteY1" fmla="*/ 19939 h 23929"/>
                  <a:gd name="connsiteX2" fmla="*/ 0 w 10784"/>
                  <a:gd name="connsiteY2" fmla="*/ 16814 h 23929"/>
                  <a:gd name="connsiteX0" fmla="*/ 10784 w 10784"/>
                  <a:gd name="connsiteY0" fmla="*/ 19121 h 24144"/>
                  <a:gd name="connsiteX1" fmla="*/ 2857 w 10784"/>
                  <a:gd name="connsiteY1" fmla="*/ 19939 h 24144"/>
                  <a:gd name="connsiteX2" fmla="*/ 0 w 10784"/>
                  <a:gd name="connsiteY2" fmla="*/ 16814 h 24144"/>
                  <a:gd name="connsiteX0" fmla="*/ 10784 w 10784"/>
                  <a:gd name="connsiteY0" fmla="*/ 19121 h 24337"/>
                  <a:gd name="connsiteX1" fmla="*/ 2857 w 10784"/>
                  <a:gd name="connsiteY1" fmla="*/ 19939 h 24337"/>
                  <a:gd name="connsiteX2" fmla="*/ 0 w 10784"/>
                  <a:gd name="connsiteY2" fmla="*/ 16814 h 24337"/>
                  <a:gd name="connsiteX0" fmla="*/ 10784 w 10784"/>
                  <a:gd name="connsiteY0" fmla="*/ 19121 h 24337"/>
                  <a:gd name="connsiteX1" fmla="*/ 2974 w 10784"/>
                  <a:gd name="connsiteY1" fmla="*/ 19939 h 24337"/>
                  <a:gd name="connsiteX2" fmla="*/ 0 w 10784"/>
                  <a:gd name="connsiteY2" fmla="*/ 16814 h 24337"/>
                  <a:gd name="connsiteX0" fmla="*/ 10784 w 10784"/>
                  <a:gd name="connsiteY0" fmla="*/ 18811 h 23500"/>
                  <a:gd name="connsiteX1" fmla="*/ 2974 w 10784"/>
                  <a:gd name="connsiteY1" fmla="*/ 19629 h 23500"/>
                  <a:gd name="connsiteX2" fmla="*/ 0 w 10784"/>
                  <a:gd name="connsiteY2" fmla="*/ 16504 h 23500"/>
                  <a:gd name="connsiteX0" fmla="*/ 10784 w 10784"/>
                  <a:gd name="connsiteY0" fmla="*/ 15756 h 20445"/>
                  <a:gd name="connsiteX1" fmla="*/ 2974 w 10784"/>
                  <a:gd name="connsiteY1" fmla="*/ 16574 h 20445"/>
                  <a:gd name="connsiteX2" fmla="*/ 0 w 10784"/>
                  <a:gd name="connsiteY2" fmla="*/ 13449 h 20445"/>
                  <a:gd name="connsiteX0" fmla="*/ 10784 w 10784"/>
                  <a:gd name="connsiteY0" fmla="*/ 13023 h 26368"/>
                  <a:gd name="connsiteX1" fmla="*/ 5204 w 10784"/>
                  <a:gd name="connsiteY1" fmla="*/ 23964 h 26368"/>
                  <a:gd name="connsiteX2" fmla="*/ 0 w 10784"/>
                  <a:gd name="connsiteY2" fmla="*/ 10716 h 26368"/>
                  <a:gd name="connsiteX0" fmla="*/ 10784 w 10784"/>
                  <a:gd name="connsiteY0" fmla="*/ 7155 h 20500"/>
                  <a:gd name="connsiteX1" fmla="*/ 5204 w 10784"/>
                  <a:gd name="connsiteY1" fmla="*/ 18096 h 20500"/>
                  <a:gd name="connsiteX2" fmla="*/ 0 w 10784"/>
                  <a:gd name="connsiteY2" fmla="*/ 4848 h 20500"/>
                  <a:gd name="connsiteX0" fmla="*/ 10784 w 10784"/>
                  <a:gd name="connsiteY0" fmla="*/ 6425 h 18282"/>
                  <a:gd name="connsiteX1" fmla="*/ 5204 w 10784"/>
                  <a:gd name="connsiteY1" fmla="*/ 17366 h 18282"/>
                  <a:gd name="connsiteX2" fmla="*/ 0 w 10784"/>
                  <a:gd name="connsiteY2" fmla="*/ 4118 h 18282"/>
                  <a:gd name="connsiteX0" fmla="*/ 10784 w 10784"/>
                  <a:gd name="connsiteY0" fmla="*/ 6425 h 18593"/>
                  <a:gd name="connsiteX1" fmla="*/ 5204 w 10784"/>
                  <a:gd name="connsiteY1" fmla="*/ 17366 h 18593"/>
                  <a:gd name="connsiteX2" fmla="*/ 0 w 10784"/>
                  <a:gd name="connsiteY2" fmla="*/ 4118 h 18593"/>
                  <a:gd name="connsiteX0" fmla="*/ 10784 w 10784"/>
                  <a:gd name="connsiteY0" fmla="*/ 6773 h 19765"/>
                  <a:gd name="connsiteX1" fmla="*/ 5204 w 10784"/>
                  <a:gd name="connsiteY1" fmla="*/ 17714 h 19765"/>
                  <a:gd name="connsiteX2" fmla="*/ 0 w 10784"/>
                  <a:gd name="connsiteY2" fmla="*/ 4466 h 19765"/>
                  <a:gd name="connsiteX0" fmla="*/ 10784 w 10784"/>
                  <a:gd name="connsiteY0" fmla="*/ 8591 h 21583"/>
                  <a:gd name="connsiteX1" fmla="*/ 5204 w 10784"/>
                  <a:gd name="connsiteY1" fmla="*/ 19532 h 21583"/>
                  <a:gd name="connsiteX2" fmla="*/ 0 w 10784"/>
                  <a:gd name="connsiteY2" fmla="*/ 6284 h 21583"/>
                  <a:gd name="connsiteX0" fmla="*/ 10784 w 10784"/>
                  <a:gd name="connsiteY0" fmla="*/ 7120 h 20112"/>
                  <a:gd name="connsiteX1" fmla="*/ 5204 w 10784"/>
                  <a:gd name="connsiteY1" fmla="*/ 18061 h 20112"/>
                  <a:gd name="connsiteX2" fmla="*/ 0 w 10784"/>
                  <a:gd name="connsiteY2" fmla="*/ 4813 h 20112"/>
                  <a:gd name="connsiteX0" fmla="*/ 10784 w 10784"/>
                  <a:gd name="connsiteY0" fmla="*/ 8331 h 21323"/>
                  <a:gd name="connsiteX1" fmla="*/ 5204 w 10784"/>
                  <a:gd name="connsiteY1" fmla="*/ 19272 h 21323"/>
                  <a:gd name="connsiteX2" fmla="*/ 0 w 10784"/>
                  <a:gd name="connsiteY2" fmla="*/ 6024 h 21323"/>
                  <a:gd name="connsiteX0" fmla="*/ 10784 w 10784"/>
                  <a:gd name="connsiteY0" fmla="*/ 7812 h 20804"/>
                  <a:gd name="connsiteX1" fmla="*/ 5204 w 10784"/>
                  <a:gd name="connsiteY1" fmla="*/ 18753 h 20804"/>
                  <a:gd name="connsiteX2" fmla="*/ 0 w 10784"/>
                  <a:gd name="connsiteY2" fmla="*/ 5505 h 20804"/>
                  <a:gd name="connsiteX0" fmla="*/ 10948 w 10948"/>
                  <a:gd name="connsiteY0" fmla="*/ 6691 h 17636"/>
                  <a:gd name="connsiteX1" fmla="*/ 5368 w 10948"/>
                  <a:gd name="connsiteY1" fmla="*/ 17632 h 17636"/>
                  <a:gd name="connsiteX2" fmla="*/ 0 w 10948"/>
                  <a:gd name="connsiteY2" fmla="*/ 4186 h 17636"/>
                  <a:gd name="connsiteX0" fmla="*/ 10948 w 10948"/>
                  <a:gd name="connsiteY0" fmla="*/ 6691 h 17636"/>
                  <a:gd name="connsiteX1" fmla="*/ 5368 w 10948"/>
                  <a:gd name="connsiteY1" fmla="*/ 17632 h 17636"/>
                  <a:gd name="connsiteX2" fmla="*/ 0 w 10948"/>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971 w 10971"/>
                  <a:gd name="connsiteY0" fmla="*/ 6691 h 17636"/>
                  <a:gd name="connsiteX1" fmla="*/ 5391 w 10971"/>
                  <a:gd name="connsiteY1" fmla="*/ 17632 h 17636"/>
                  <a:gd name="connsiteX2" fmla="*/ 0 w 10971"/>
                  <a:gd name="connsiteY2" fmla="*/ 4186 h 17636"/>
                  <a:gd name="connsiteX0" fmla="*/ 10666 w 10666"/>
                  <a:gd name="connsiteY0" fmla="*/ 6761 h 17703"/>
                  <a:gd name="connsiteX1" fmla="*/ 5086 w 10666"/>
                  <a:gd name="connsiteY1" fmla="*/ 17702 h 17703"/>
                  <a:gd name="connsiteX2" fmla="*/ 0 w 10666"/>
                  <a:gd name="connsiteY2" fmla="*/ 7432 h 17703"/>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6669 h 17617"/>
                  <a:gd name="connsiteX1" fmla="*/ 5297 w 10877"/>
                  <a:gd name="connsiteY1" fmla="*/ 17610 h 17617"/>
                  <a:gd name="connsiteX2" fmla="*/ 0 w 10877"/>
                  <a:gd name="connsiteY2" fmla="*/ 3172 h 17617"/>
                  <a:gd name="connsiteX0" fmla="*/ 10877 w 10877"/>
                  <a:gd name="connsiteY0" fmla="*/ 7417 h 20060"/>
                  <a:gd name="connsiteX1" fmla="*/ 5297 w 10877"/>
                  <a:gd name="connsiteY1" fmla="*/ 18358 h 20060"/>
                  <a:gd name="connsiteX2" fmla="*/ 0 w 10877"/>
                  <a:gd name="connsiteY2" fmla="*/ 3920 h 20060"/>
                  <a:gd name="connsiteX0" fmla="*/ 10971 w 10971"/>
                  <a:gd name="connsiteY0" fmla="*/ 6682 h 17628"/>
                  <a:gd name="connsiteX1" fmla="*/ 5391 w 10971"/>
                  <a:gd name="connsiteY1" fmla="*/ 17623 h 17628"/>
                  <a:gd name="connsiteX2" fmla="*/ 0 w 10971"/>
                  <a:gd name="connsiteY2" fmla="*/ 3780 h 17628"/>
                  <a:gd name="connsiteX0" fmla="*/ 10971 w 10971"/>
                  <a:gd name="connsiteY0" fmla="*/ 6682 h 18885"/>
                  <a:gd name="connsiteX1" fmla="*/ 5391 w 10971"/>
                  <a:gd name="connsiteY1" fmla="*/ 17623 h 18885"/>
                  <a:gd name="connsiteX2" fmla="*/ 0 w 10971"/>
                  <a:gd name="connsiteY2" fmla="*/ 3780 h 18885"/>
                  <a:gd name="connsiteX0" fmla="*/ 10971 w 10971"/>
                  <a:gd name="connsiteY0" fmla="*/ 7726 h 22919"/>
                  <a:gd name="connsiteX1" fmla="*/ 5391 w 10971"/>
                  <a:gd name="connsiteY1" fmla="*/ 18667 h 22919"/>
                  <a:gd name="connsiteX2" fmla="*/ 0 w 10971"/>
                  <a:gd name="connsiteY2" fmla="*/ 4824 h 22919"/>
                  <a:gd name="connsiteX0" fmla="*/ 10971 w 10971"/>
                  <a:gd name="connsiteY0" fmla="*/ 7466 h 21967"/>
                  <a:gd name="connsiteX1" fmla="*/ 5391 w 10971"/>
                  <a:gd name="connsiteY1" fmla="*/ 18407 h 21967"/>
                  <a:gd name="connsiteX2" fmla="*/ 0 w 10971"/>
                  <a:gd name="connsiteY2" fmla="*/ 4564 h 21967"/>
                  <a:gd name="connsiteX0" fmla="*/ 10971 w 10971"/>
                  <a:gd name="connsiteY0" fmla="*/ 7466 h 21070"/>
                  <a:gd name="connsiteX1" fmla="*/ 5391 w 10971"/>
                  <a:gd name="connsiteY1" fmla="*/ 18407 h 21070"/>
                  <a:gd name="connsiteX2" fmla="*/ 0 w 10971"/>
                  <a:gd name="connsiteY2" fmla="*/ 4564 h 21070"/>
                  <a:gd name="connsiteX0" fmla="*/ 10971 w 10971"/>
                  <a:gd name="connsiteY0" fmla="*/ 7466 h 21492"/>
                  <a:gd name="connsiteX1" fmla="*/ 5391 w 10971"/>
                  <a:gd name="connsiteY1" fmla="*/ 18407 h 21492"/>
                  <a:gd name="connsiteX2" fmla="*/ 0 w 10971"/>
                  <a:gd name="connsiteY2" fmla="*/ 4564 h 21492"/>
                  <a:gd name="connsiteX0" fmla="*/ 10971 w 10971"/>
                  <a:gd name="connsiteY0" fmla="*/ 7610 h 21090"/>
                  <a:gd name="connsiteX1" fmla="*/ 5814 w 10971"/>
                  <a:gd name="connsiteY1" fmla="*/ 17757 h 21090"/>
                  <a:gd name="connsiteX2" fmla="*/ 0 w 10971"/>
                  <a:gd name="connsiteY2" fmla="*/ 4708 h 21090"/>
                  <a:gd name="connsiteX0" fmla="*/ 10971 w 10971"/>
                  <a:gd name="connsiteY0" fmla="*/ 7895 h 20418"/>
                  <a:gd name="connsiteX1" fmla="*/ 5814 w 10971"/>
                  <a:gd name="connsiteY1" fmla="*/ 16572 h 20418"/>
                  <a:gd name="connsiteX2" fmla="*/ 0 w 10971"/>
                  <a:gd name="connsiteY2" fmla="*/ 4993 h 20418"/>
                  <a:gd name="connsiteX0" fmla="*/ 10971 w 10971"/>
                  <a:gd name="connsiteY0" fmla="*/ 6825 h 19348"/>
                  <a:gd name="connsiteX1" fmla="*/ 5814 w 10971"/>
                  <a:gd name="connsiteY1" fmla="*/ 15502 h 19348"/>
                  <a:gd name="connsiteX2" fmla="*/ 0 w 10971"/>
                  <a:gd name="connsiteY2" fmla="*/ 3923 h 19348"/>
                  <a:gd name="connsiteX0" fmla="*/ 10971 w 10971"/>
                  <a:gd name="connsiteY0" fmla="*/ 7680 h 20203"/>
                  <a:gd name="connsiteX1" fmla="*/ 5814 w 10971"/>
                  <a:gd name="connsiteY1" fmla="*/ 16357 h 20203"/>
                  <a:gd name="connsiteX2" fmla="*/ 0 w 10971"/>
                  <a:gd name="connsiteY2" fmla="*/ 4778 h 20203"/>
                </a:gdLst>
                <a:ahLst/>
                <a:cxnLst>
                  <a:cxn ang="0">
                    <a:pos x="connsiteX0" y="connsiteY0"/>
                  </a:cxn>
                  <a:cxn ang="0">
                    <a:pos x="connsiteX1" y="connsiteY1"/>
                  </a:cxn>
                  <a:cxn ang="0">
                    <a:pos x="connsiteX2" y="connsiteY2"/>
                  </a:cxn>
                </a:cxnLst>
                <a:rect l="l" t="t" r="r" b="b"/>
                <a:pathLst>
                  <a:path w="10971" h="20203">
                    <a:moveTo>
                      <a:pt x="10971" y="7680"/>
                    </a:moveTo>
                    <a:cubicBezTo>
                      <a:pt x="8294" y="-11867"/>
                      <a:pt x="7267" y="11482"/>
                      <a:pt x="5814" y="16357"/>
                    </a:cubicBezTo>
                    <a:cubicBezTo>
                      <a:pt x="4361" y="21232"/>
                      <a:pt x="2271" y="24950"/>
                      <a:pt x="0" y="4778"/>
                    </a:cubicBezTo>
                  </a:path>
                </a:pathLst>
              </a:custGeom>
              <a:noFill/>
              <a:ln w="28575" cap="rnd">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solidFill>
                    <a:srgbClr val="FFFFFF"/>
                  </a:solidFill>
                </a:endParaRPr>
              </a:p>
            </p:txBody>
          </p:sp>
        </p:grpSp>
      </p:grpSp>
      <p:grpSp>
        <p:nvGrpSpPr>
          <p:cNvPr id="337" name="8"/>
          <p:cNvGrpSpPr/>
          <p:nvPr/>
        </p:nvGrpSpPr>
        <p:grpSpPr>
          <a:xfrm>
            <a:off x="9715484" y="2009904"/>
            <a:ext cx="2185582" cy="3976839"/>
            <a:chOff x="9715484" y="2009904"/>
            <a:chExt cx="2185582" cy="3976839"/>
          </a:xfrm>
        </p:grpSpPr>
        <p:sp>
          <p:nvSpPr>
            <p:cNvPr id="22" name="Rectangle 21"/>
            <p:cNvSpPr/>
            <p:nvPr/>
          </p:nvSpPr>
          <p:spPr bwMode="auto">
            <a:xfrm>
              <a:off x="9715484" y="2009904"/>
              <a:ext cx="2185582"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Presentation &amp; </a:t>
              </a:r>
            </a:p>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Business Connectivity</a:t>
              </a: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pp Service, Websites</a:t>
              </a: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endParaRPr lang="en-US" sz="11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Dynamics, BizTalk Services, Notification Hubs</a:t>
              </a:r>
            </a:p>
          </p:txBody>
        </p:sp>
        <p:sp>
          <p:nvSpPr>
            <p:cNvPr id="223" name="Freeform 222"/>
            <p:cNvSpPr>
              <a:spLocks noChangeAspect="1" noEditPoints="1"/>
            </p:cNvSpPr>
            <p:nvPr/>
          </p:nvSpPr>
          <p:spPr bwMode="black">
            <a:xfrm>
              <a:off x="9806884" y="4624635"/>
              <a:ext cx="998284" cy="312942"/>
            </a:xfrm>
            <a:custGeom>
              <a:avLst/>
              <a:gdLst>
                <a:gd name="T0" fmla="*/ 1075 w 1264"/>
                <a:gd name="T1" fmla="*/ 202 h 394"/>
                <a:gd name="T2" fmla="*/ 1075 w 1264"/>
                <a:gd name="T3" fmla="*/ 243 h 394"/>
                <a:gd name="T4" fmla="*/ 595 w 1264"/>
                <a:gd name="T5" fmla="*/ 29 h 394"/>
                <a:gd name="T6" fmla="*/ 480 w 1264"/>
                <a:gd name="T7" fmla="*/ 29 h 394"/>
                <a:gd name="T8" fmla="*/ 486 w 1264"/>
                <a:gd name="T9" fmla="*/ 10 h 394"/>
                <a:gd name="T10" fmla="*/ 611 w 1264"/>
                <a:gd name="T11" fmla="*/ 10 h 394"/>
                <a:gd name="T12" fmla="*/ 677 w 1264"/>
                <a:gd name="T13" fmla="*/ 105 h 394"/>
                <a:gd name="T14" fmla="*/ 704 w 1264"/>
                <a:gd name="T15" fmla="*/ 74 h 394"/>
                <a:gd name="T16" fmla="*/ 827 w 1264"/>
                <a:gd name="T17" fmla="*/ 68 h 394"/>
                <a:gd name="T18" fmla="*/ 773 w 1264"/>
                <a:gd name="T19" fmla="*/ 51 h 394"/>
                <a:gd name="T20" fmla="*/ 827 w 1264"/>
                <a:gd name="T21" fmla="*/ 51 h 394"/>
                <a:gd name="T22" fmla="*/ 829 w 1264"/>
                <a:gd name="T23" fmla="*/ 104 h 394"/>
                <a:gd name="T24" fmla="*/ 905 w 1264"/>
                <a:gd name="T25" fmla="*/ 73 h 394"/>
                <a:gd name="T26" fmla="*/ 905 w 1264"/>
                <a:gd name="T27" fmla="*/ 132 h 394"/>
                <a:gd name="T28" fmla="*/ 943 w 1264"/>
                <a:gd name="T29" fmla="*/ 133 h 394"/>
                <a:gd name="T30" fmla="*/ 943 w 1264"/>
                <a:gd name="T31" fmla="*/ 79 h 394"/>
                <a:gd name="T32" fmla="*/ 965 w 1264"/>
                <a:gd name="T33" fmla="*/ 67 h 394"/>
                <a:gd name="T34" fmla="*/ 1118 w 1264"/>
                <a:gd name="T35" fmla="*/ 102 h 394"/>
                <a:gd name="T36" fmla="*/ 1069 w 1264"/>
                <a:gd name="T37" fmla="*/ 49 h 394"/>
                <a:gd name="T38" fmla="*/ 1043 w 1264"/>
                <a:gd name="T39" fmla="*/ 73 h 394"/>
                <a:gd name="T40" fmla="*/ 1185 w 1264"/>
                <a:gd name="T41" fmla="*/ 16 h 394"/>
                <a:gd name="T42" fmla="*/ 1157 w 1264"/>
                <a:gd name="T43" fmla="*/ 65 h 394"/>
                <a:gd name="T44" fmla="*/ 1140 w 1264"/>
                <a:gd name="T45" fmla="*/ 51 h 394"/>
                <a:gd name="T46" fmla="*/ 1241 w 1264"/>
                <a:gd name="T47" fmla="*/ 153 h 394"/>
                <a:gd name="T48" fmla="*/ 1198 w 1264"/>
                <a:gd name="T49" fmla="*/ 51 h 394"/>
                <a:gd name="T50" fmla="*/ 1215 w 1264"/>
                <a:gd name="T51" fmla="*/ 65 h 394"/>
                <a:gd name="T52" fmla="*/ 682 w 1264"/>
                <a:gd name="T53" fmla="*/ 243 h 394"/>
                <a:gd name="T54" fmla="*/ 617 w 1264"/>
                <a:gd name="T55" fmla="*/ 365 h 394"/>
                <a:gd name="T56" fmla="*/ 634 w 1264"/>
                <a:gd name="T57" fmla="*/ 330 h 394"/>
                <a:gd name="T58" fmla="*/ 763 w 1264"/>
                <a:gd name="T59" fmla="*/ 287 h 394"/>
                <a:gd name="T60" fmla="*/ 694 w 1264"/>
                <a:gd name="T61" fmla="*/ 243 h 394"/>
                <a:gd name="T62" fmla="*/ 779 w 1264"/>
                <a:gd name="T63" fmla="*/ 283 h 394"/>
                <a:gd name="T64" fmla="*/ 829 w 1264"/>
                <a:gd name="T65" fmla="*/ 349 h 394"/>
                <a:gd name="T66" fmla="*/ 807 w 1264"/>
                <a:gd name="T67" fmla="*/ 267 h 394"/>
                <a:gd name="T68" fmla="*/ 861 w 1264"/>
                <a:gd name="T69" fmla="*/ 294 h 394"/>
                <a:gd name="T70" fmla="*/ 853 w 1264"/>
                <a:gd name="T71" fmla="*/ 326 h 394"/>
                <a:gd name="T72" fmla="*/ 1027 w 1264"/>
                <a:gd name="T73" fmla="*/ 262 h 394"/>
                <a:gd name="T74" fmla="*/ 968 w 1264"/>
                <a:gd name="T75" fmla="*/ 285 h 394"/>
                <a:gd name="T76" fmla="*/ 903 w 1264"/>
                <a:gd name="T77" fmla="*/ 243 h 394"/>
                <a:gd name="T78" fmla="*/ 981 w 1264"/>
                <a:gd name="T79" fmla="*/ 262 h 394"/>
                <a:gd name="T80" fmla="*/ 1135 w 1264"/>
                <a:gd name="T81" fmla="*/ 342 h 394"/>
                <a:gd name="T82" fmla="*/ 1188 w 1264"/>
                <a:gd name="T83" fmla="*/ 263 h 394"/>
                <a:gd name="T84" fmla="*/ 1188 w 1264"/>
                <a:gd name="T85" fmla="*/ 326 h 394"/>
                <a:gd name="T86" fmla="*/ 1200 w 1264"/>
                <a:gd name="T87" fmla="*/ 325 h 394"/>
                <a:gd name="T88" fmla="*/ 1201 w 1264"/>
                <a:gd name="T89" fmla="*/ 271 h 394"/>
                <a:gd name="T90" fmla="*/ 1222 w 1264"/>
                <a:gd name="T91" fmla="*/ 259 h 394"/>
                <a:gd name="T92" fmla="*/ 660 w 1264"/>
                <a:gd name="T93" fmla="*/ 17 h 394"/>
                <a:gd name="T94" fmla="*/ 649 w 1264"/>
                <a:gd name="T95" fmla="*/ 7 h 394"/>
                <a:gd name="T96" fmla="*/ 657 w 1264"/>
                <a:gd name="T97" fmla="*/ 51 h 394"/>
                <a:gd name="T98" fmla="*/ 465 w 1264"/>
                <a:gd name="T99" fmla="*/ 346 h 394"/>
                <a:gd name="T100" fmla="*/ 482 w 1264"/>
                <a:gd name="T101" fmla="*/ 217 h 394"/>
                <a:gd name="T102" fmla="*/ 273 w 1264"/>
                <a:gd name="T103" fmla="*/ 67 h 394"/>
                <a:gd name="T104" fmla="*/ 269 w 1264"/>
                <a:gd name="T105" fmla="*/ 306 h 394"/>
                <a:gd name="T106" fmla="*/ 308 w 1264"/>
                <a:gd name="T107" fmla="*/ 172 h 394"/>
                <a:gd name="T108" fmla="*/ 2 w 1264"/>
                <a:gd name="T109" fmla="*/ 348 h 394"/>
                <a:gd name="T110" fmla="*/ 180 w 1264"/>
                <a:gd name="T111" fmla="*/ 10 h 394"/>
                <a:gd name="T112" fmla="*/ 119 w 1264"/>
                <a:gd name="T113" fmla="*/ 154 h 394"/>
                <a:gd name="T114" fmla="*/ 180 w 1264"/>
                <a:gd name="T115" fmla="*/ 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4" h="394">
                  <a:moveTo>
                    <a:pt x="1094" y="209"/>
                  </a:moveTo>
                  <a:cubicBezTo>
                    <a:pt x="1094" y="213"/>
                    <a:pt x="1093" y="215"/>
                    <a:pt x="1091" y="217"/>
                  </a:cubicBezTo>
                  <a:cubicBezTo>
                    <a:pt x="1089" y="219"/>
                    <a:pt x="1086" y="220"/>
                    <a:pt x="1083" y="220"/>
                  </a:cubicBezTo>
                  <a:cubicBezTo>
                    <a:pt x="1080" y="220"/>
                    <a:pt x="1077" y="219"/>
                    <a:pt x="1075" y="217"/>
                  </a:cubicBezTo>
                  <a:cubicBezTo>
                    <a:pt x="1073" y="215"/>
                    <a:pt x="1072" y="213"/>
                    <a:pt x="1072" y="209"/>
                  </a:cubicBezTo>
                  <a:cubicBezTo>
                    <a:pt x="1072" y="207"/>
                    <a:pt x="1073" y="204"/>
                    <a:pt x="1075" y="202"/>
                  </a:cubicBezTo>
                  <a:cubicBezTo>
                    <a:pt x="1077" y="200"/>
                    <a:pt x="1080" y="199"/>
                    <a:pt x="1083" y="199"/>
                  </a:cubicBezTo>
                  <a:cubicBezTo>
                    <a:pt x="1086" y="199"/>
                    <a:pt x="1089" y="200"/>
                    <a:pt x="1091" y="202"/>
                  </a:cubicBezTo>
                  <a:cubicBezTo>
                    <a:pt x="1093" y="204"/>
                    <a:pt x="1094" y="207"/>
                    <a:pt x="1094" y="209"/>
                  </a:cubicBezTo>
                  <a:close/>
                  <a:moveTo>
                    <a:pt x="1091" y="346"/>
                  </a:moveTo>
                  <a:cubicBezTo>
                    <a:pt x="1075" y="346"/>
                    <a:pt x="1075" y="346"/>
                    <a:pt x="1075" y="346"/>
                  </a:cubicBezTo>
                  <a:cubicBezTo>
                    <a:pt x="1075" y="243"/>
                    <a:pt x="1075" y="243"/>
                    <a:pt x="1075" y="243"/>
                  </a:cubicBezTo>
                  <a:cubicBezTo>
                    <a:pt x="1091" y="243"/>
                    <a:pt x="1091" y="243"/>
                    <a:pt x="1091" y="243"/>
                  </a:cubicBezTo>
                  <a:lnTo>
                    <a:pt x="1091" y="346"/>
                  </a:lnTo>
                  <a:close/>
                  <a:moveTo>
                    <a:pt x="611" y="154"/>
                  </a:moveTo>
                  <a:cubicBezTo>
                    <a:pt x="594" y="154"/>
                    <a:pt x="594" y="154"/>
                    <a:pt x="594" y="154"/>
                  </a:cubicBezTo>
                  <a:cubicBezTo>
                    <a:pt x="594" y="57"/>
                    <a:pt x="594" y="57"/>
                    <a:pt x="594" y="57"/>
                  </a:cubicBezTo>
                  <a:cubicBezTo>
                    <a:pt x="594" y="50"/>
                    <a:pt x="594" y="40"/>
                    <a:pt x="595" y="29"/>
                  </a:cubicBezTo>
                  <a:cubicBezTo>
                    <a:pt x="595" y="29"/>
                    <a:pt x="595" y="29"/>
                    <a:pt x="595" y="29"/>
                  </a:cubicBezTo>
                  <a:cubicBezTo>
                    <a:pt x="593" y="36"/>
                    <a:pt x="592" y="41"/>
                    <a:pt x="590" y="43"/>
                  </a:cubicBezTo>
                  <a:cubicBezTo>
                    <a:pt x="541" y="154"/>
                    <a:pt x="541" y="154"/>
                    <a:pt x="541" y="154"/>
                  </a:cubicBezTo>
                  <a:cubicBezTo>
                    <a:pt x="533" y="154"/>
                    <a:pt x="533" y="154"/>
                    <a:pt x="533" y="154"/>
                  </a:cubicBezTo>
                  <a:cubicBezTo>
                    <a:pt x="484" y="44"/>
                    <a:pt x="484" y="44"/>
                    <a:pt x="484" y="44"/>
                  </a:cubicBezTo>
                  <a:cubicBezTo>
                    <a:pt x="483" y="41"/>
                    <a:pt x="481" y="36"/>
                    <a:pt x="480" y="29"/>
                  </a:cubicBezTo>
                  <a:cubicBezTo>
                    <a:pt x="479" y="29"/>
                    <a:pt x="479" y="29"/>
                    <a:pt x="479" y="29"/>
                  </a:cubicBezTo>
                  <a:cubicBezTo>
                    <a:pt x="480" y="35"/>
                    <a:pt x="480" y="45"/>
                    <a:pt x="480" y="58"/>
                  </a:cubicBezTo>
                  <a:cubicBezTo>
                    <a:pt x="480" y="154"/>
                    <a:pt x="480" y="154"/>
                    <a:pt x="480" y="154"/>
                  </a:cubicBezTo>
                  <a:cubicBezTo>
                    <a:pt x="464" y="154"/>
                    <a:pt x="464" y="154"/>
                    <a:pt x="464" y="154"/>
                  </a:cubicBezTo>
                  <a:cubicBezTo>
                    <a:pt x="464" y="10"/>
                    <a:pt x="464" y="10"/>
                    <a:pt x="464" y="10"/>
                  </a:cubicBezTo>
                  <a:cubicBezTo>
                    <a:pt x="486" y="10"/>
                    <a:pt x="486" y="10"/>
                    <a:pt x="486" y="10"/>
                  </a:cubicBezTo>
                  <a:cubicBezTo>
                    <a:pt x="530" y="110"/>
                    <a:pt x="530" y="110"/>
                    <a:pt x="530" y="110"/>
                  </a:cubicBezTo>
                  <a:cubicBezTo>
                    <a:pt x="534" y="118"/>
                    <a:pt x="536" y="124"/>
                    <a:pt x="537" y="128"/>
                  </a:cubicBezTo>
                  <a:cubicBezTo>
                    <a:pt x="537" y="128"/>
                    <a:pt x="537" y="128"/>
                    <a:pt x="537" y="128"/>
                  </a:cubicBezTo>
                  <a:cubicBezTo>
                    <a:pt x="541" y="119"/>
                    <a:pt x="543" y="113"/>
                    <a:pt x="544" y="110"/>
                  </a:cubicBezTo>
                  <a:cubicBezTo>
                    <a:pt x="589" y="10"/>
                    <a:pt x="589" y="10"/>
                    <a:pt x="589" y="10"/>
                  </a:cubicBezTo>
                  <a:cubicBezTo>
                    <a:pt x="611" y="10"/>
                    <a:pt x="611" y="10"/>
                    <a:pt x="611" y="10"/>
                  </a:cubicBezTo>
                  <a:lnTo>
                    <a:pt x="611" y="154"/>
                  </a:lnTo>
                  <a:close/>
                  <a:moveTo>
                    <a:pt x="754" y="149"/>
                  </a:moveTo>
                  <a:cubicBezTo>
                    <a:pt x="746" y="154"/>
                    <a:pt x="737" y="157"/>
                    <a:pt x="726" y="157"/>
                  </a:cubicBezTo>
                  <a:cubicBezTo>
                    <a:pt x="717" y="157"/>
                    <a:pt x="708" y="154"/>
                    <a:pt x="701" y="150"/>
                  </a:cubicBezTo>
                  <a:cubicBezTo>
                    <a:pt x="693" y="146"/>
                    <a:pt x="687" y="140"/>
                    <a:pt x="683" y="132"/>
                  </a:cubicBezTo>
                  <a:cubicBezTo>
                    <a:pt x="679" y="124"/>
                    <a:pt x="677" y="115"/>
                    <a:pt x="677" y="105"/>
                  </a:cubicBezTo>
                  <a:cubicBezTo>
                    <a:pt x="677" y="88"/>
                    <a:pt x="682" y="75"/>
                    <a:pt x="692" y="64"/>
                  </a:cubicBezTo>
                  <a:cubicBezTo>
                    <a:pt x="701" y="54"/>
                    <a:pt x="714" y="49"/>
                    <a:pt x="731" y="49"/>
                  </a:cubicBezTo>
                  <a:cubicBezTo>
                    <a:pt x="740" y="49"/>
                    <a:pt x="747" y="50"/>
                    <a:pt x="754" y="54"/>
                  </a:cubicBezTo>
                  <a:cubicBezTo>
                    <a:pt x="754" y="71"/>
                    <a:pt x="754" y="71"/>
                    <a:pt x="754" y="71"/>
                  </a:cubicBezTo>
                  <a:cubicBezTo>
                    <a:pt x="747" y="65"/>
                    <a:pt x="738" y="63"/>
                    <a:pt x="730" y="63"/>
                  </a:cubicBezTo>
                  <a:cubicBezTo>
                    <a:pt x="719" y="63"/>
                    <a:pt x="711" y="67"/>
                    <a:pt x="704" y="74"/>
                  </a:cubicBezTo>
                  <a:cubicBezTo>
                    <a:pt x="697" y="82"/>
                    <a:pt x="694" y="92"/>
                    <a:pt x="694" y="104"/>
                  </a:cubicBezTo>
                  <a:cubicBezTo>
                    <a:pt x="694" y="116"/>
                    <a:pt x="697" y="125"/>
                    <a:pt x="703" y="132"/>
                  </a:cubicBezTo>
                  <a:cubicBezTo>
                    <a:pt x="710" y="139"/>
                    <a:pt x="718" y="143"/>
                    <a:pt x="729" y="143"/>
                  </a:cubicBezTo>
                  <a:cubicBezTo>
                    <a:pt x="738" y="143"/>
                    <a:pt x="746" y="140"/>
                    <a:pt x="754" y="134"/>
                  </a:cubicBezTo>
                  <a:lnTo>
                    <a:pt x="754" y="149"/>
                  </a:lnTo>
                  <a:close/>
                  <a:moveTo>
                    <a:pt x="827" y="68"/>
                  </a:moveTo>
                  <a:cubicBezTo>
                    <a:pt x="824" y="66"/>
                    <a:pt x="820" y="65"/>
                    <a:pt x="815" y="65"/>
                  </a:cubicBezTo>
                  <a:cubicBezTo>
                    <a:pt x="807" y="65"/>
                    <a:pt x="801" y="68"/>
                    <a:pt x="797" y="75"/>
                  </a:cubicBezTo>
                  <a:cubicBezTo>
                    <a:pt x="792" y="82"/>
                    <a:pt x="790" y="91"/>
                    <a:pt x="790" y="102"/>
                  </a:cubicBezTo>
                  <a:cubicBezTo>
                    <a:pt x="790" y="154"/>
                    <a:pt x="790" y="154"/>
                    <a:pt x="790" y="154"/>
                  </a:cubicBezTo>
                  <a:cubicBezTo>
                    <a:pt x="773" y="154"/>
                    <a:pt x="773" y="154"/>
                    <a:pt x="773" y="154"/>
                  </a:cubicBezTo>
                  <a:cubicBezTo>
                    <a:pt x="773" y="51"/>
                    <a:pt x="773" y="51"/>
                    <a:pt x="773" y="51"/>
                  </a:cubicBezTo>
                  <a:cubicBezTo>
                    <a:pt x="790" y="51"/>
                    <a:pt x="790" y="51"/>
                    <a:pt x="790" y="51"/>
                  </a:cubicBezTo>
                  <a:cubicBezTo>
                    <a:pt x="790" y="72"/>
                    <a:pt x="790" y="72"/>
                    <a:pt x="790" y="72"/>
                  </a:cubicBezTo>
                  <a:cubicBezTo>
                    <a:pt x="790" y="72"/>
                    <a:pt x="790" y="72"/>
                    <a:pt x="790" y="72"/>
                  </a:cubicBezTo>
                  <a:cubicBezTo>
                    <a:pt x="793" y="65"/>
                    <a:pt x="796" y="60"/>
                    <a:pt x="801" y="56"/>
                  </a:cubicBezTo>
                  <a:cubicBezTo>
                    <a:pt x="806" y="52"/>
                    <a:pt x="811" y="49"/>
                    <a:pt x="817" y="49"/>
                  </a:cubicBezTo>
                  <a:cubicBezTo>
                    <a:pt x="822" y="49"/>
                    <a:pt x="825" y="50"/>
                    <a:pt x="827" y="51"/>
                  </a:cubicBezTo>
                  <a:lnTo>
                    <a:pt x="827" y="68"/>
                  </a:lnTo>
                  <a:close/>
                  <a:moveTo>
                    <a:pt x="930" y="102"/>
                  </a:moveTo>
                  <a:cubicBezTo>
                    <a:pt x="930" y="119"/>
                    <a:pt x="926" y="132"/>
                    <a:pt x="916" y="142"/>
                  </a:cubicBezTo>
                  <a:cubicBezTo>
                    <a:pt x="907" y="152"/>
                    <a:pt x="895" y="157"/>
                    <a:pt x="879" y="157"/>
                  </a:cubicBezTo>
                  <a:cubicBezTo>
                    <a:pt x="864" y="157"/>
                    <a:pt x="852" y="152"/>
                    <a:pt x="843" y="142"/>
                  </a:cubicBezTo>
                  <a:cubicBezTo>
                    <a:pt x="833" y="132"/>
                    <a:pt x="829" y="120"/>
                    <a:pt x="829" y="104"/>
                  </a:cubicBezTo>
                  <a:cubicBezTo>
                    <a:pt x="829" y="87"/>
                    <a:pt x="834" y="73"/>
                    <a:pt x="843" y="64"/>
                  </a:cubicBezTo>
                  <a:cubicBezTo>
                    <a:pt x="852" y="54"/>
                    <a:pt x="865" y="49"/>
                    <a:pt x="881" y="49"/>
                  </a:cubicBezTo>
                  <a:cubicBezTo>
                    <a:pt x="897" y="49"/>
                    <a:pt x="909" y="54"/>
                    <a:pt x="917" y="63"/>
                  </a:cubicBezTo>
                  <a:cubicBezTo>
                    <a:pt x="926" y="73"/>
                    <a:pt x="930" y="86"/>
                    <a:pt x="930" y="102"/>
                  </a:cubicBezTo>
                  <a:close/>
                  <a:moveTo>
                    <a:pt x="913" y="103"/>
                  </a:moveTo>
                  <a:cubicBezTo>
                    <a:pt x="913" y="90"/>
                    <a:pt x="910" y="80"/>
                    <a:pt x="905" y="73"/>
                  </a:cubicBezTo>
                  <a:cubicBezTo>
                    <a:pt x="899" y="66"/>
                    <a:pt x="891" y="63"/>
                    <a:pt x="880" y="63"/>
                  </a:cubicBezTo>
                  <a:cubicBezTo>
                    <a:pt x="870" y="63"/>
                    <a:pt x="861" y="66"/>
                    <a:pt x="855" y="73"/>
                  </a:cubicBezTo>
                  <a:cubicBezTo>
                    <a:pt x="849" y="80"/>
                    <a:pt x="846" y="90"/>
                    <a:pt x="846" y="103"/>
                  </a:cubicBezTo>
                  <a:cubicBezTo>
                    <a:pt x="846" y="116"/>
                    <a:pt x="849" y="125"/>
                    <a:pt x="855" y="132"/>
                  </a:cubicBezTo>
                  <a:cubicBezTo>
                    <a:pt x="861" y="139"/>
                    <a:pt x="870" y="143"/>
                    <a:pt x="880" y="143"/>
                  </a:cubicBezTo>
                  <a:cubicBezTo>
                    <a:pt x="891" y="143"/>
                    <a:pt x="899" y="139"/>
                    <a:pt x="905" y="132"/>
                  </a:cubicBezTo>
                  <a:cubicBezTo>
                    <a:pt x="910" y="125"/>
                    <a:pt x="913" y="116"/>
                    <a:pt x="913" y="103"/>
                  </a:cubicBezTo>
                  <a:close/>
                  <a:moveTo>
                    <a:pt x="1006" y="127"/>
                  </a:moveTo>
                  <a:cubicBezTo>
                    <a:pt x="1006" y="135"/>
                    <a:pt x="1003" y="143"/>
                    <a:pt x="996" y="148"/>
                  </a:cubicBezTo>
                  <a:cubicBezTo>
                    <a:pt x="989" y="154"/>
                    <a:pt x="980" y="157"/>
                    <a:pt x="969" y="157"/>
                  </a:cubicBezTo>
                  <a:cubicBezTo>
                    <a:pt x="959" y="157"/>
                    <a:pt x="950" y="154"/>
                    <a:pt x="943" y="150"/>
                  </a:cubicBezTo>
                  <a:cubicBezTo>
                    <a:pt x="943" y="133"/>
                    <a:pt x="943" y="133"/>
                    <a:pt x="943" y="133"/>
                  </a:cubicBezTo>
                  <a:cubicBezTo>
                    <a:pt x="951" y="139"/>
                    <a:pt x="960" y="143"/>
                    <a:pt x="970" y="143"/>
                  </a:cubicBezTo>
                  <a:cubicBezTo>
                    <a:pt x="983" y="143"/>
                    <a:pt x="989" y="138"/>
                    <a:pt x="989" y="128"/>
                  </a:cubicBezTo>
                  <a:cubicBezTo>
                    <a:pt x="989" y="124"/>
                    <a:pt x="988" y="121"/>
                    <a:pt x="986" y="119"/>
                  </a:cubicBezTo>
                  <a:cubicBezTo>
                    <a:pt x="983" y="116"/>
                    <a:pt x="977" y="113"/>
                    <a:pt x="968" y="109"/>
                  </a:cubicBezTo>
                  <a:cubicBezTo>
                    <a:pt x="959" y="105"/>
                    <a:pt x="953" y="101"/>
                    <a:pt x="949" y="96"/>
                  </a:cubicBezTo>
                  <a:cubicBezTo>
                    <a:pt x="945" y="92"/>
                    <a:pt x="943" y="86"/>
                    <a:pt x="943" y="79"/>
                  </a:cubicBezTo>
                  <a:cubicBezTo>
                    <a:pt x="943" y="70"/>
                    <a:pt x="947" y="63"/>
                    <a:pt x="954" y="57"/>
                  </a:cubicBezTo>
                  <a:cubicBezTo>
                    <a:pt x="960" y="52"/>
                    <a:pt x="969" y="49"/>
                    <a:pt x="980" y="49"/>
                  </a:cubicBezTo>
                  <a:cubicBezTo>
                    <a:pt x="988" y="49"/>
                    <a:pt x="995" y="50"/>
                    <a:pt x="1002" y="54"/>
                  </a:cubicBezTo>
                  <a:cubicBezTo>
                    <a:pt x="1002" y="70"/>
                    <a:pt x="1002" y="70"/>
                    <a:pt x="1002" y="70"/>
                  </a:cubicBezTo>
                  <a:cubicBezTo>
                    <a:pt x="995" y="65"/>
                    <a:pt x="987" y="63"/>
                    <a:pt x="978" y="63"/>
                  </a:cubicBezTo>
                  <a:cubicBezTo>
                    <a:pt x="973" y="63"/>
                    <a:pt x="968" y="64"/>
                    <a:pt x="965" y="67"/>
                  </a:cubicBezTo>
                  <a:cubicBezTo>
                    <a:pt x="962" y="69"/>
                    <a:pt x="960" y="73"/>
                    <a:pt x="960" y="77"/>
                  </a:cubicBezTo>
                  <a:cubicBezTo>
                    <a:pt x="960" y="82"/>
                    <a:pt x="961" y="85"/>
                    <a:pt x="964" y="88"/>
                  </a:cubicBezTo>
                  <a:cubicBezTo>
                    <a:pt x="966" y="90"/>
                    <a:pt x="972" y="93"/>
                    <a:pt x="980" y="96"/>
                  </a:cubicBezTo>
                  <a:cubicBezTo>
                    <a:pt x="989" y="100"/>
                    <a:pt x="996" y="105"/>
                    <a:pt x="1000" y="109"/>
                  </a:cubicBezTo>
                  <a:cubicBezTo>
                    <a:pt x="1004" y="114"/>
                    <a:pt x="1006" y="120"/>
                    <a:pt x="1006" y="127"/>
                  </a:cubicBezTo>
                  <a:close/>
                  <a:moveTo>
                    <a:pt x="1118" y="102"/>
                  </a:moveTo>
                  <a:cubicBezTo>
                    <a:pt x="1118" y="119"/>
                    <a:pt x="1113" y="132"/>
                    <a:pt x="1104" y="142"/>
                  </a:cubicBezTo>
                  <a:cubicBezTo>
                    <a:pt x="1095" y="152"/>
                    <a:pt x="1083" y="157"/>
                    <a:pt x="1067" y="157"/>
                  </a:cubicBezTo>
                  <a:cubicBezTo>
                    <a:pt x="1052" y="157"/>
                    <a:pt x="1040" y="152"/>
                    <a:pt x="1031" y="142"/>
                  </a:cubicBezTo>
                  <a:cubicBezTo>
                    <a:pt x="1021" y="132"/>
                    <a:pt x="1017" y="120"/>
                    <a:pt x="1017" y="104"/>
                  </a:cubicBezTo>
                  <a:cubicBezTo>
                    <a:pt x="1017" y="87"/>
                    <a:pt x="1022" y="73"/>
                    <a:pt x="1031" y="64"/>
                  </a:cubicBezTo>
                  <a:cubicBezTo>
                    <a:pt x="1040" y="54"/>
                    <a:pt x="1053" y="49"/>
                    <a:pt x="1069" y="49"/>
                  </a:cubicBezTo>
                  <a:cubicBezTo>
                    <a:pt x="1085" y="49"/>
                    <a:pt x="1097" y="54"/>
                    <a:pt x="1105" y="63"/>
                  </a:cubicBezTo>
                  <a:cubicBezTo>
                    <a:pt x="1114" y="73"/>
                    <a:pt x="1118" y="86"/>
                    <a:pt x="1118" y="102"/>
                  </a:cubicBezTo>
                  <a:close/>
                  <a:moveTo>
                    <a:pt x="1101" y="103"/>
                  </a:moveTo>
                  <a:cubicBezTo>
                    <a:pt x="1101" y="90"/>
                    <a:pt x="1098" y="80"/>
                    <a:pt x="1093" y="73"/>
                  </a:cubicBezTo>
                  <a:cubicBezTo>
                    <a:pt x="1087" y="66"/>
                    <a:pt x="1079" y="63"/>
                    <a:pt x="1068" y="63"/>
                  </a:cubicBezTo>
                  <a:cubicBezTo>
                    <a:pt x="1058" y="63"/>
                    <a:pt x="1049" y="66"/>
                    <a:pt x="1043" y="73"/>
                  </a:cubicBezTo>
                  <a:cubicBezTo>
                    <a:pt x="1037" y="80"/>
                    <a:pt x="1034" y="90"/>
                    <a:pt x="1034" y="103"/>
                  </a:cubicBezTo>
                  <a:cubicBezTo>
                    <a:pt x="1034" y="116"/>
                    <a:pt x="1037" y="125"/>
                    <a:pt x="1043" y="132"/>
                  </a:cubicBezTo>
                  <a:cubicBezTo>
                    <a:pt x="1049" y="139"/>
                    <a:pt x="1058" y="143"/>
                    <a:pt x="1068" y="143"/>
                  </a:cubicBezTo>
                  <a:cubicBezTo>
                    <a:pt x="1079" y="143"/>
                    <a:pt x="1087" y="139"/>
                    <a:pt x="1093" y="132"/>
                  </a:cubicBezTo>
                  <a:cubicBezTo>
                    <a:pt x="1098" y="125"/>
                    <a:pt x="1101" y="116"/>
                    <a:pt x="1101" y="103"/>
                  </a:cubicBezTo>
                  <a:close/>
                  <a:moveTo>
                    <a:pt x="1185" y="16"/>
                  </a:moveTo>
                  <a:cubicBezTo>
                    <a:pt x="1182" y="15"/>
                    <a:pt x="1178" y="14"/>
                    <a:pt x="1174" y="14"/>
                  </a:cubicBezTo>
                  <a:cubicBezTo>
                    <a:pt x="1163" y="14"/>
                    <a:pt x="1157" y="21"/>
                    <a:pt x="1157" y="35"/>
                  </a:cubicBezTo>
                  <a:cubicBezTo>
                    <a:pt x="1157" y="51"/>
                    <a:pt x="1157" y="51"/>
                    <a:pt x="1157" y="51"/>
                  </a:cubicBezTo>
                  <a:cubicBezTo>
                    <a:pt x="1181" y="51"/>
                    <a:pt x="1181" y="51"/>
                    <a:pt x="1181" y="51"/>
                  </a:cubicBezTo>
                  <a:cubicBezTo>
                    <a:pt x="1181" y="65"/>
                    <a:pt x="1181" y="65"/>
                    <a:pt x="1181" y="65"/>
                  </a:cubicBezTo>
                  <a:cubicBezTo>
                    <a:pt x="1157" y="65"/>
                    <a:pt x="1157" y="65"/>
                    <a:pt x="1157" y="65"/>
                  </a:cubicBezTo>
                  <a:cubicBezTo>
                    <a:pt x="1157" y="154"/>
                    <a:pt x="1157" y="154"/>
                    <a:pt x="1157" y="154"/>
                  </a:cubicBezTo>
                  <a:cubicBezTo>
                    <a:pt x="1140" y="154"/>
                    <a:pt x="1140" y="154"/>
                    <a:pt x="1140" y="154"/>
                  </a:cubicBezTo>
                  <a:cubicBezTo>
                    <a:pt x="1140" y="65"/>
                    <a:pt x="1140" y="65"/>
                    <a:pt x="1140" y="65"/>
                  </a:cubicBezTo>
                  <a:cubicBezTo>
                    <a:pt x="1123" y="65"/>
                    <a:pt x="1123" y="65"/>
                    <a:pt x="1123" y="65"/>
                  </a:cubicBezTo>
                  <a:cubicBezTo>
                    <a:pt x="1123" y="51"/>
                    <a:pt x="1123" y="51"/>
                    <a:pt x="1123" y="51"/>
                  </a:cubicBezTo>
                  <a:cubicBezTo>
                    <a:pt x="1140" y="51"/>
                    <a:pt x="1140" y="51"/>
                    <a:pt x="1140" y="51"/>
                  </a:cubicBezTo>
                  <a:cubicBezTo>
                    <a:pt x="1140" y="35"/>
                    <a:pt x="1140" y="35"/>
                    <a:pt x="1140" y="35"/>
                  </a:cubicBezTo>
                  <a:cubicBezTo>
                    <a:pt x="1140" y="24"/>
                    <a:pt x="1144" y="16"/>
                    <a:pt x="1150" y="9"/>
                  </a:cubicBezTo>
                  <a:cubicBezTo>
                    <a:pt x="1156" y="3"/>
                    <a:pt x="1164" y="0"/>
                    <a:pt x="1173" y="0"/>
                  </a:cubicBezTo>
                  <a:cubicBezTo>
                    <a:pt x="1178" y="0"/>
                    <a:pt x="1182" y="0"/>
                    <a:pt x="1185" y="1"/>
                  </a:cubicBezTo>
                  <a:lnTo>
                    <a:pt x="1185" y="16"/>
                  </a:lnTo>
                  <a:close/>
                  <a:moveTo>
                    <a:pt x="1241" y="153"/>
                  </a:moveTo>
                  <a:cubicBezTo>
                    <a:pt x="1237" y="155"/>
                    <a:pt x="1232" y="156"/>
                    <a:pt x="1225" y="156"/>
                  </a:cubicBezTo>
                  <a:cubicBezTo>
                    <a:pt x="1207" y="156"/>
                    <a:pt x="1198" y="146"/>
                    <a:pt x="1198" y="126"/>
                  </a:cubicBezTo>
                  <a:cubicBezTo>
                    <a:pt x="1198" y="65"/>
                    <a:pt x="1198" y="65"/>
                    <a:pt x="1198" y="65"/>
                  </a:cubicBezTo>
                  <a:cubicBezTo>
                    <a:pt x="1181" y="65"/>
                    <a:pt x="1181" y="65"/>
                    <a:pt x="1181" y="65"/>
                  </a:cubicBezTo>
                  <a:cubicBezTo>
                    <a:pt x="1181" y="51"/>
                    <a:pt x="1181" y="51"/>
                    <a:pt x="1181" y="51"/>
                  </a:cubicBezTo>
                  <a:cubicBezTo>
                    <a:pt x="1198" y="51"/>
                    <a:pt x="1198" y="51"/>
                    <a:pt x="1198" y="51"/>
                  </a:cubicBezTo>
                  <a:cubicBezTo>
                    <a:pt x="1198" y="26"/>
                    <a:pt x="1198" y="26"/>
                    <a:pt x="1198" y="26"/>
                  </a:cubicBezTo>
                  <a:cubicBezTo>
                    <a:pt x="1215" y="21"/>
                    <a:pt x="1215" y="21"/>
                    <a:pt x="1215" y="21"/>
                  </a:cubicBezTo>
                  <a:cubicBezTo>
                    <a:pt x="1215" y="51"/>
                    <a:pt x="1215" y="51"/>
                    <a:pt x="1215" y="51"/>
                  </a:cubicBezTo>
                  <a:cubicBezTo>
                    <a:pt x="1241" y="51"/>
                    <a:pt x="1241" y="51"/>
                    <a:pt x="1241" y="51"/>
                  </a:cubicBezTo>
                  <a:cubicBezTo>
                    <a:pt x="1241" y="65"/>
                    <a:pt x="1241" y="65"/>
                    <a:pt x="1241" y="65"/>
                  </a:cubicBezTo>
                  <a:cubicBezTo>
                    <a:pt x="1215" y="65"/>
                    <a:pt x="1215" y="65"/>
                    <a:pt x="1215" y="65"/>
                  </a:cubicBezTo>
                  <a:cubicBezTo>
                    <a:pt x="1215" y="123"/>
                    <a:pt x="1215" y="123"/>
                    <a:pt x="1215" y="123"/>
                  </a:cubicBezTo>
                  <a:cubicBezTo>
                    <a:pt x="1215" y="130"/>
                    <a:pt x="1216" y="135"/>
                    <a:pt x="1218" y="138"/>
                  </a:cubicBezTo>
                  <a:cubicBezTo>
                    <a:pt x="1221" y="141"/>
                    <a:pt x="1225" y="142"/>
                    <a:pt x="1230" y="142"/>
                  </a:cubicBezTo>
                  <a:cubicBezTo>
                    <a:pt x="1234" y="142"/>
                    <a:pt x="1238" y="141"/>
                    <a:pt x="1241" y="139"/>
                  </a:cubicBezTo>
                  <a:lnTo>
                    <a:pt x="1241" y="153"/>
                  </a:lnTo>
                  <a:close/>
                  <a:moveTo>
                    <a:pt x="682" y="243"/>
                  </a:moveTo>
                  <a:cubicBezTo>
                    <a:pt x="635" y="363"/>
                    <a:pt x="635" y="363"/>
                    <a:pt x="635" y="363"/>
                  </a:cubicBezTo>
                  <a:cubicBezTo>
                    <a:pt x="626" y="384"/>
                    <a:pt x="614" y="394"/>
                    <a:pt x="599" y="394"/>
                  </a:cubicBezTo>
                  <a:cubicBezTo>
                    <a:pt x="595" y="394"/>
                    <a:pt x="591" y="394"/>
                    <a:pt x="588" y="393"/>
                  </a:cubicBezTo>
                  <a:cubicBezTo>
                    <a:pt x="588" y="378"/>
                    <a:pt x="588" y="378"/>
                    <a:pt x="588" y="378"/>
                  </a:cubicBezTo>
                  <a:cubicBezTo>
                    <a:pt x="592" y="380"/>
                    <a:pt x="595" y="380"/>
                    <a:pt x="598" y="380"/>
                  </a:cubicBezTo>
                  <a:cubicBezTo>
                    <a:pt x="606" y="380"/>
                    <a:pt x="613" y="375"/>
                    <a:pt x="617" y="365"/>
                  </a:cubicBezTo>
                  <a:cubicBezTo>
                    <a:pt x="625" y="346"/>
                    <a:pt x="625" y="346"/>
                    <a:pt x="625" y="346"/>
                  </a:cubicBezTo>
                  <a:cubicBezTo>
                    <a:pt x="585" y="243"/>
                    <a:pt x="585" y="243"/>
                    <a:pt x="585" y="243"/>
                  </a:cubicBezTo>
                  <a:cubicBezTo>
                    <a:pt x="603" y="243"/>
                    <a:pt x="603" y="243"/>
                    <a:pt x="603" y="243"/>
                  </a:cubicBezTo>
                  <a:cubicBezTo>
                    <a:pt x="631" y="322"/>
                    <a:pt x="631" y="322"/>
                    <a:pt x="631" y="322"/>
                  </a:cubicBezTo>
                  <a:cubicBezTo>
                    <a:pt x="633" y="330"/>
                    <a:pt x="633" y="330"/>
                    <a:pt x="633" y="330"/>
                  </a:cubicBezTo>
                  <a:cubicBezTo>
                    <a:pt x="634" y="330"/>
                    <a:pt x="634" y="330"/>
                    <a:pt x="634" y="330"/>
                  </a:cubicBezTo>
                  <a:cubicBezTo>
                    <a:pt x="634" y="329"/>
                    <a:pt x="635" y="326"/>
                    <a:pt x="636" y="323"/>
                  </a:cubicBezTo>
                  <a:cubicBezTo>
                    <a:pt x="665" y="243"/>
                    <a:pt x="665" y="243"/>
                    <a:pt x="665" y="243"/>
                  </a:cubicBezTo>
                  <a:lnTo>
                    <a:pt x="682" y="243"/>
                  </a:lnTo>
                  <a:close/>
                  <a:moveTo>
                    <a:pt x="779" y="346"/>
                  </a:moveTo>
                  <a:cubicBezTo>
                    <a:pt x="763" y="346"/>
                    <a:pt x="763" y="346"/>
                    <a:pt x="763" y="346"/>
                  </a:cubicBezTo>
                  <a:cubicBezTo>
                    <a:pt x="763" y="287"/>
                    <a:pt x="763" y="287"/>
                    <a:pt x="763" y="287"/>
                  </a:cubicBezTo>
                  <a:cubicBezTo>
                    <a:pt x="763" y="266"/>
                    <a:pt x="755" y="255"/>
                    <a:pt x="739" y="255"/>
                  </a:cubicBezTo>
                  <a:cubicBezTo>
                    <a:pt x="731" y="255"/>
                    <a:pt x="724" y="258"/>
                    <a:pt x="719" y="264"/>
                  </a:cubicBezTo>
                  <a:cubicBezTo>
                    <a:pt x="713" y="270"/>
                    <a:pt x="711" y="278"/>
                    <a:pt x="711" y="287"/>
                  </a:cubicBezTo>
                  <a:cubicBezTo>
                    <a:pt x="711" y="346"/>
                    <a:pt x="711" y="346"/>
                    <a:pt x="711" y="346"/>
                  </a:cubicBezTo>
                  <a:cubicBezTo>
                    <a:pt x="694" y="346"/>
                    <a:pt x="694" y="346"/>
                    <a:pt x="694" y="346"/>
                  </a:cubicBezTo>
                  <a:cubicBezTo>
                    <a:pt x="694" y="243"/>
                    <a:pt x="694" y="243"/>
                    <a:pt x="694" y="243"/>
                  </a:cubicBezTo>
                  <a:cubicBezTo>
                    <a:pt x="711" y="243"/>
                    <a:pt x="711" y="243"/>
                    <a:pt x="711" y="243"/>
                  </a:cubicBezTo>
                  <a:cubicBezTo>
                    <a:pt x="711" y="260"/>
                    <a:pt x="711" y="260"/>
                    <a:pt x="711" y="260"/>
                  </a:cubicBezTo>
                  <a:cubicBezTo>
                    <a:pt x="711" y="260"/>
                    <a:pt x="711" y="260"/>
                    <a:pt x="711" y="260"/>
                  </a:cubicBezTo>
                  <a:cubicBezTo>
                    <a:pt x="719" y="247"/>
                    <a:pt x="730" y="241"/>
                    <a:pt x="745" y="241"/>
                  </a:cubicBezTo>
                  <a:cubicBezTo>
                    <a:pt x="756" y="241"/>
                    <a:pt x="765" y="244"/>
                    <a:pt x="771" y="252"/>
                  </a:cubicBezTo>
                  <a:cubicBezTo>
                    <a:pt x="776" y="259"/>
                    <a:pt x="779" y="270"/>
                    <a:pt x="779" y="283"/>
                  </a:cubicBezTo>
                  <a:lnTo>
                    <a:pt x="779" y="346"/>
                  </a:lnTo>
                  <a:close/>
                  <a:moveTo>
                    <a:pt x="878" y="346"/>
                  </a:moveTo>
                  <a:cubicBezTo>
                    <a:pt x="861" y="346"/>
                    <a:pt x="861" y="346"/>
                    <a:pt x="861" y="346"/>
                  </a:cubicBezTo>
                  <a:cubicBezTo>
                    <a:pt x="861" y="330"/>
                    <a:pt x="861" y="330"/>
                    <a:pt x="861" y="330"/>
                  </a:cubicBezTo>
                  <a:cubicBezTo>
                    <a:pt x="861" y="330"/>
                    <a:pt x="861" y="330"/>
                    <a:pt x="861" y="330"/>
                  </a:cubicBezTo>
                  <a:cubicBezTo>
                    <a:pt x="854" y="342"/>
                    <a:pt x="843" y="349"/>
                    <a:pt x="829" y="349"/>
                  </a:cubicBezTo>
                  <a:cubicBezTo>
                    <a:pt x="819" y="349"/>
                    <a:pt x="811" y="346"/>
                    <a:pt x="805" y="340"/>
                  </a:cubicBezTo>
                  <a:cubicBezTo>
                    <a:pt x="799" y="335"/>
                    <a:pt x="796" y="328"/>
                    <a:pt x="796" y="319"/>
                  </a:cubicBezTo>
                  <a:cubicBezTo>
                    <a:pt x="796" y="300"/>
                    <a:pt x="808" y="288"/>
                    <a:pt x="830" y="285"/>
                  </a:cubicBezTo>
                  <a:cubicBezTo>
                    <a:pt x="861" y="281"/>
                    <a:pt x="861" y="281"/>
                    <a:pt x="861" y="281"/>
                  </a:cubicBezTo>
                  <a:cubicBezTo>
                    <a:pt x="861" y="264"/>
                    <a:pt x="854" y="255"/>
                    <a:pt x="840" y="255"/>
                  </a:cubicBezTo>
                  <a:cubicBezTo>
                    <a:pt x="828" y="255"/>
                    <a:pt x="816" y="259"/>
                    <a:pt x="807" y="267"/>
                  </a:cubicBezTo>
                  <a:cubicBezTo>
                    <a:pt x="807" y="250"/>
                    <a:pt x="807" y="250"/>
                    <a:pt x="807" y="250"/>
                  </a:cubicBezTo>
                  <a:cubicBezTo>
                    <a:pt x="810" y="248"/>
                    <a:pt x="815" y="246"/>
                    <a:pt x="822" y="244"/>
                  </a:cubicBezTo>
                  <a:cubicBezTo>
                    <a:pt x="829" y="242"/>
                    <a:pt x="836" y="241"/>
                    <a:pt x="841" y="241"/>
                  </a:cubicBezTo>
                  <a:cubicBezTo>
                    <a:pt x="866" y="241"/>
                    <a:pt x="878" y="254"/>
                    <a:pt x="878" y="279"/>
                  </a:cubicBezTo>
                  <a:lnTo>
                    <a:pt x="878" y="346"/>
                  </a:lnTo>
                  <a:close/>
                  <a:moveTo>
                    <a:pt x="861" y="294"/>
                  </a:moveTo>
                  <a:cubicBezTo>
                    <a:pt x="836" y="298"/>
                    <a:pt x="836" y="298"/>
                    <a:pt x="836" y="298"/>
                  </a:cubicBezTo>
                  <a:cubicBezTo>
                    <a:pt x="828" y="299"/>
                    <a:pt x="822" y="301"/>
                    <a:pt x="818" y="304"/>
                  </a:cubicBezTo>
                  <a:cubicBezTo>
                    <a:pt x="815" y="306"/>
                    <a:pt x="813" y="311"/>
                    <a:pt x="813" y="317"/>
                  </a:cubicBezTo>
                  <a:cubicBezTo>
                    <a:pt x="813" y="323"/>
                    <a:pt x="815" y="327"/>
                    <a:pt x="819" y="330"/>
                  </a:cubicBezTo>
                  <a:cubicBezTo>
                    <a:pt x="823" y="333"/>
                    <a:pt x="827" y="335"/>
                    <a:pt x="833" y="335"/>
                  </a:cubicBezTo>
                  <a:cubicBezTo>
                    <a:pt x="841" y="335"/>
                    <a:pt x="848" y="332"/>
                    <a:pt x="853" y="326"/>
                  </a:cubicBezTo>
                  <a:cubicBezTo>
                    <a:pt x="859" y="320"/>
                    <a:pt x="861" y="313"/>
                    <a:pt x="861" y="304"/>
                  </a:cubicBezTo>
                  <a:lnTo>
                    <a:pt x="861" y="294"/>
                  </a:lnTo>
                  <a:close/>
                  <a:moveTo>
                    <a:pt x="1049" y="346"/>
                  </a:moveTo>
                  <a:cubicBezTo>
                    <a:pt x="1033" y="346"/>
                    <a:pt x="1033" y="346"/>
                    <a:pt x="1033" y="346"/>
                  </a:cubicBezTo>
                  <a:cubicBezTo>
                    <a:pt x="1033" y="287"/>
                    <a:pt x="1033" y="287"/>
                    <a:pt x="1033" y="287"/>
                  </a:cubicBezTo>
                  <a:cubicBezTo>
                    <a:pt x="1033" y="276"/>
                    <a:pt x="1031" y="267"/>
                    <a:pt x="1027" y="262"/>
                  </a:cubicBezTo>
                  <a:cubicBezTo>
                    <a:pt x="1024" y="257"/>
                    <a:pt x="1018" y="255"/>
                    <a:pt x="1010" y="255"/>
                  </a:cubicBezTo>
                  <a:cubicBezTo>
                    <a:pt x="1003" y="255"/>
                    <a:pt x="997" y="258"/>
                    <a:pt x="992" y="264"/>
                  </a:cubicBezTo>
                  <a:cubicBezTo>
                    <a:pt x="987" y="271"/>
                    <a:pt x="984" y="279"/>
                    <a:pt x="984" y="287"/>
                  </a:cubicBezTo>
                  <a:cubicBezTo>
                    <a:pt x="984" y="346"/>
                    <a:pt x="984" y="346"/>
                    <a:pt x="984" y="346"/>
                  </a:cubicBezTo>
                  <a:cubicBezTo>
                    <a:pt x="968" y="346"/>
                    <a:pt x="968" y="346"/>
                    <a:pt x="968" y="346"/>
                  </a:cubicBezTo>
                  <a:cubicBezTo>
                    <a:pt x="968" y="285"/>
                    <a:pt x="968" y="285"/>
                    <a:pt x="968" y="285"/>
                  </a:cubicBezTo>
                  <a:cubicBezTo>
                    <a:pt x="968" y="265"/>
                    <a:pt x="960" y="255"/>
                    <a:pt x="945" y="255"/>
                  </a:cubicBezTo>
                  <a:cubicBezTo>
                    <a:pt x="937" y="255"/>
                    <a:pt x="931" y="258"/>
                    <a:pt x="927" y="264"/>
                  </a:cubicBezTo>
                  <a:cubicBezTo>
                    <a:pt x="922" y="270"/>
                    <a:pt x="920" y="278"/>
                    <a:pt x="920" y="287"/>
                  </a:cubicBezTo>
                  <a:cubicBezTo>
                    <a:pt x="920" y="346"/>
                    <a:pt x="920" y="346"/>
                    <a:pt x="920" y="346"/>
                  </a:cubicBezTo>
                  <a:cubicBezTo>
                    <a:pt x="903" y="346"/>
                    <a:pt x="903" y="346"/>
                    <a:pt x="903" y="346"/>
                  </a:cubicBezTo>
                  <a:cubicBezTo>
                    <a:pt x="903" y="243"/>
                    <a:pt x="903" y="243"/>
                    <a:pt x="903" y="243"/>
                  </a:cubicBezTo>
                  <a:cubicBezTo>
                    <a:pt x="920" y="243"/>
                    <a:pt x="920" y="243"/>
                    <a:pt x="920" y="243"/>
                  </a:cubicBezTo>
                  <a:cubicBezTo>
                    <a:pt x="920" y="260"/>
                    <a:pt x="920" y="260"/>
                    <a:pt x="920" y="260"/>
                  </a:cubicBezTo>
                  <a:cubicBezTo>
                    <a:pt x="920" y="260"/>
                    <a:pt x="920" y="260"/>
                    <a:pt x="920" y="260"/>
                  </a:cubicBezTo>
                  <a:cubicBezTo>
                    <a:pt x="927" y="247"/>
                    <a:pt x="938" y="241"/>
                    <a:pt x="952" y="241"/>
                  </a:cubicBezTo>
                  <a:cubicBezTo>
                    <a:pt x="959" y="241"/>
                    <a:pt x="965" y="243"/>
                    <a:pt x="970" y="246"/>
                  </a:cubicBezTo>
                  <a:cubicBezTo>
                    <a:pt x="975" y="250"/>
                    <a:pt x="979" y="255"/>
                    <a:pt x="981" y="262"/>
                  </a:cubicBezTo>
                  <a:cubicBezTo>
                    <a:pt x="989" y="248"/>
                    <a:pt x="1000" y="241"/>
                    <a:pt x="1015" y="241"/>
                  </a:cubicBezTo>
                  <a:cubicBezTo>
                    <a:pt x="1038" y="241"/>
                    <a:pt x="1049" y="255"/>
                    <a:pt x="1049" y="283"/>
                  </a:cubicBezTo>
                  <a:lnTo>
                    <a:pt x="1049" y="346"/>
                  </a:lnTo>
                  <a:close/>
                  <a:moveTo>
                    <a:pt x="1188" y="341"/>
                  </a:moveTo>
                  <a:cubicBezTo>
                    <a:pt x="1180" y="346"/>
                    <a:pt x="1171" y="349"/>
                    <a:pt x="1160" y="349"/>
                  </a:cubicBezTo>
                  <a:cubicBezTo>
                    <a:pt x="1151" y="349"/>
                    <a:pt x="1142" y="346"/>
                    <a:pt x="1135" y="342"/>
                  </a:cubicBezTo>
                  <a:cubicBezTo>
                    <a:pt x="1127" y="338"/>
                    <a:pt x="1121" y="332"/>
                    <a:pt x="1117" y="324"/>
                  </a:cubicBezTo>
                  <a:cubicBezTo>
                    <a:pt x="1113" y="316"/>
                    <a:pt x="1111" y="307"/>
                    <a:pt x="1111" y="297"/>
                  </a:cubicBezTo>
                  <a:cubicBezTo>
                    <a:pt x="1111" y="280"/>
                    <a:pt x="1116" y="267"/>
                    <a:pt x="1126" y="256"/>
                  </a:cubicBezTo>
                  <a:cubicBezTo>
                    <a:pt x="1135" y="246"/>
                    <a:pt x="1148" y="241"/>
                    <a:pt x="1165" y="241"/>
                  </a:cubicBezTo>
                  <a:cubicBezTo>
                    <a:pt x="1173" y="241"/>
                    <a:pt x="1181" y="242"/>
                    <a:pt x="1188" y="246"/>
                  </a:cubicBezTo>
                  <a:cubicBezTo>
                    <a:pt x="1188" y="263"/>
                    <a:pt x="1188" y="263"/>
                    <a:pt x="1188" y="263"/>
                  </a:cubicBezTo>
                  <a:cubicBezTo>
                    <a:pt x="1181" y="257"/>
                    <a:pt x="1172" y="255"/>
                    <a:pt x="1164" y="255"/>
                  </a:cubicBezTo>
                  <a:cubicBezTo>
                    <a:pt x="1153" y="255"/>
                    <a:pt x="1145" y="259"/>
                    <a:pt x="1138" y="266"/>
                  </a:cubicBezTo>
                  <a:cubicBezTo>
                    <a:pt x="1131" y="274"/>
                    <a:pt x="1128" y="284"/>
                    <a:pt x="1128" y="296"/>
                  </a:cubicBezTo>
                  <a:cubicBezTo>
                    <a:pt x="1128" y="308"/>
                    <a:pt x="1131" y="317"/>
                    <a:pt x="1137" y="324"/>
                  </a:cubicBezTo>
                  <a:cubicBezTo>
                    <a:pt x="1144" y="331"/>
                    <a:pt x="1152" y="335"/>
                    <a:pt x="1163" y="335"/>
                  </a:cubicBezTo>
                  <a:cubicBezTo>
                    <a:pt x="1172" y="335"/>
                    <a:pt x="1180" y="332"/>
                    <a:pt x="1188" y="326"/>
                  </a:cubicBezTo>
                  <a:lnTo>
                    <a:pt x="1188" y="341"/>
                  </a:lnTo>
                  <a:close/>
                  <a:moveTo>
                    <a:pt x="1264" y="319"/>
                  </a:moveTo>
                  <a:cubicBezTo>
                    <a:pt x="1264" y="327"/>
                    <a:pt x="1260" y="335"/>
                    <a:pt x="1253" y="340"/>
                  </a:cubicBezTo>
                  <a:cubicBezTo>
                    <a:pt x="1246" y="346"/>
                    <a:pt x="1237" y="349"/>
                    <a:pt x="1226" y="349"/>
                  </a:cubicBezTo>
                  <a:cubicBezTo>
                    <a:pt x="1216" y="349"/>
                    <a:pt x="1208" y="346"/>
                    <a:pt x="1200" y="342"/>
                  </a:cubicBezTo>
                  <a:cubicBezTo>
                    <a:pt x="1200" y="325"/>
                    <a:pt x="1200" y="325"/>
                    <a:pt x="1200" y="325"/>
                  </a:cubicBezTo>
                  <a:cubicBezTo>
                    <a:pt x="1209" y="331"/>
                    <a:pt x="1217" y="335"/>
                    <a:pt x="1227" y="335"/>
                  </a:cubicBezTo>
                  <a:cubicBezTo>
                    <a:pt x="1240" y="335"/>
                    <a:pt x="1247" y="330"/>
                    <a:pt x="1247" y="320"/>
                  </a:cubicBezTo>
                  <a:cubicBezTo>
                    <a:pt x="1247" y="316"/>
                    <a:pt x="1245" y="313"/>
                    <a:pt x="1243" y="311"/>
                  </a:cubicBezTo>
                  <a:cubicBezTo>
                    <a:pt x="1240" y="308"/>
                    <a:pt x="1235" y="305"/>
                    <a:pt x="1226" y="301"/>
                  </a:cubicBezTo>
                  <a:cubicBezTo>
                    <a:pt x="1216" y="297"/>
                    <a:pt x="1210" y="293"/>
                    <a:pt x="1206" y="288"/>
                  </a:cubicBezTo>
                  <a:cubicBezTo>
                    <a:pt x="1202" y="284"/>
                    <a:pt x="1201" y="278"/>
                    <a:pt x="1201" y="271"/>
                  </a:cubicBezTo>
                  <a:cubicBezTo>
                    <a:pt x="1201" y="262"/>
                    <a:pt x="1204" y="255"/>
                    <a:pt x="1211" y="249"/>
                  </a:cubicBezTo>
                  <a:cubicBezTo>
                    <a:pt x="1218" y="244"/>
                    <a:pt x="1226" y="241"/>
                    <a:pt x="1237" y="241"/>
                  </a:cubicBezTo>
                  <a:cubicBezTo>
                    <a:pt x="1245" y="241"/>
                    <a:pt x="1252" y="242"/>
                    <a:pt x="1259" y="246"/>
                  </a:cubicBezTo>
                  <a:cubicBezTo>
                    <a:pt x="1259" y="262"/>
                    <a:pt x="1259" y="262"/>
                    <a:pt x="1259" y="262"/>
                  </a:cubicBezTo>
                  <a:cubicBezTo>
                    <a:pt x="1252" y="257"/>
                    <a:pt x="1244" y="255"/>
                    <a:pt x="1236" y="255"/>
                  </a:cubicBezTo>
                  <a:cubicBezTo>
                    <a:pt x="1230" y="255"/>
                    <a:pt x="1226" y="256"/>
                    <a:pt x="1222" y="259"/>
                  </a:cubicBezTo>
                  <a:cubicBezTo>
                    <a:pt x="1219" y="261"/>
                    <a:pt x="1217" y="265"/>
                    <a:pt x="1217" y="269"/>
                  </a:cubicBezTo>
                  <a:cubicBezTo>
                    <a:pt x="1217" y="274"/>
                    <a:pt x="1219" y="277"/>
                    <a:pt x="1221" y="280"/>
                  </a:cubicBezTo>
                  <a:cubicBezTo>
                    <a:pt x="1224" y="282"/>
                    <a:pt x="1229" y="285"/>
                    <a:pt x="1237" y="288"/>
                  </a:cubicBezTo>
                  <a:cubicBezTo>
                    <a:pt x="1247" y="292"/>
                    <a:pt x="1254" y="297"/>
                    <a:pt x="1258" y="301"/>
                  </a:cubicBezTo>
                  <a:cubicBezTo>
                    <a:pt x="1262" y="306"/>
                    <a:pt x="1264" y="312"/>
                    <a:pt x="1264" y="319"/>
                  </a:cubicBezTo>
                  <a:close/>
                  <a:moveTo>
                    <a:pt x="660" y="17"/>
                  </a:moveTo>
                  <a:cubicBezTo>
                    <a:pt x="660" y="21"/>
                    <a:pt x="659" y="23"/>
                    <a:pt x="657" y="25"/>
                  </a:cubicBezTo>
                  <a:cubicBezTo>
                    <a:pt x="655" y="27"/>
                    <a:pt x="652" y="28"/>
                    <a:pt x="649" y="28"/>
                  </a:cubicBezTo>
                  <a:cubicBezTo>
                    <a:pt x="646" y="28"/>
                    <a:pt x="643" y="27"/>
                    <a:pt x="641" y="25"/>
                  </a:cubicBezTo>
                  <a:cubicBezTo>
                    <a:pt x="639" y="23"/>
                    <a:pt x="638" y="21"/>
                    <a:pt x="638" y="17"/>
                  </a:cubicBezTo>
                  <a:cubicBezTo>
                    <a:pt x="638" y="15"/>
                    <a:pt x="639" y="12"/>
                    <a:pt x="641" y="10"/>
                  </a:cubicBezTo>
                  <a:cubicBezTo>
                    <a:pt x="643" y="8"/>
                    <a:pt x="646" y="7"/>
                    <a:pt x="649" y="7"/>
                  </a:cubicBezTo>
                  <a:cubicBezTo>
                    <a:pt x="652" y="7"/>
                    <a:pt x="655" y="8"/>
                    <a:pt x="657" y="10"/>
                  </a:cubicBezTo>
                  <a:cubicBezTo>
                    <a:pt x="659" y="12"/>
                    <a:pt x="660" y="15"/>
                    <a:pt x="660" y="17"/>
                  </a:cubicBezTo>
                  <a:close/>
                  <a:moveTo>
                    <a:pt x="657" y="154"/>
                  </a:moveTo>
                  <a:cubicBezTo>
                    <a:pt x="641" y="154"/>
                    <a:pt x="641" y="154"/>
                    <a:pt x="641" y="154"/>
                  </a:cubicBezTo>
                  <a:cubicBezTo>
                    <a:pt x="641" y="51"/>
                    <a:pt x="641" y="51"/>
                    <a:pt x="641" y="51"/>
                  </a:cubicBezTo>
                  <a:cubicBezTo>
                    <a:pt x="657" y="51"/>
                    <a:pt x="657" y="51"/>
                    <a:pt x="657" y="51"/>
                  </a:cubicBezTo>
                  <a:lnTo>
                    <a:pt x="657" y="154"/>
                  </a:lnTo>
                  <a:close/>
                  <a:moveTo>
                    <a:pt x="580" y="272"/>
                  </a:moveTo>
                  <a:cubicBezTo>
                    <a:pt x="580" y="287"/>
                    <a:pt x="577" y="300"/>
                    <a:pt x="571" y="311"/>
                  </a:cubicBezTo>
                  <a:cubicBezTo>
                    <a:pt x="564" y="322"/>
                    <a:pt x="555" y="331"/>
                    <a:pt x="543" y="337"/>
                  </a:cubicBezTo>
                  <a:cubicBezTo>
                    <a:pt x="532" y="343"/>
                    <a:pt x="518" y="346"/>
                    <a:pt x="503" y="346"/>
                  </a:cubicBezTo>
                  <a:cubicBezTo>
                    <a:pt x="465" y="346"/>
                    <a:pt x="465" y="346"/>
                    <a:pt x="465" y="346"/>
                  </a:cubicBezTo>
                  <a:cubicBezTo>
                    <a:pt x="465" y="202"/>
                    <a:pt x="465" y="202"/>
                    <a:pt x="465" y="202"/>
                  </a:cubicBezTo>
                  <a:cubicBezTo>
                    <a:pt x="504" y="202"/>
                    <a:pt x="504" y="202"/>
                    <a:pt x="504" y="202"/>
                  </a:cubicBezTo>
                  <a:cubicBezTo>
                    <a:pt x="555" y="202"/>
                    <a:pt x="580" y="225"/>
                    <a:pt x="580" y="272"/>
                  </a:cubicBezTo>
                  <a:close/>
                  <a:moveTo>
                    <a:pt x="563" y="272"/>
                  </a:moveTo>
                  <a:cubicBezTo>
                    <a:pt x="563" y="236"/>
                    <a:pt x="543" y="217"/>
                    <a:pt x="504" y="217"/>
                  </a:cubicBezTo>
                  <a:cubicBezTo>
                    <a:pt x="482" y="217"/>
                    <a:pt x="482" y="217"/>
                    <a:pt x="482" y="217"/>
                  </a:cubicBezTo>
                  <a:cubicBezTo>
                    <a:pt x="482" y="331"/>
                    <a:pt x="482" y="331"/>
                    <a:pt x="482" y="331"/>
                  </a:cubicBezTo>
                  <a:cubicBezTo>
                    <a:pt x="503" y="331"/>
                    <a:pt x="503" y="331"/>
                    <a:pt x="503" y="331"/>
                  </a:cubicBezTo>
                  <a:cubicBezTo>
                    <a:pt x="522" y="331"/>
                    <a:pt x="537" y="325"/>
                    <a:pt x="547" y="315"/>
                  </a:cubicBezTo>
                  <a:cubicBezTo>
                    <a:pt x="558" y="305"/>
                    <a:pt x="563" y="291"/>
                    <a:pt x="563" y="272"/>
                  </a:cubicBezTo>
                  <a:close/>
                  <a:moveTo>
                    <a:pt x="273" y="67"/>
                  </a:moveTo>
                  <a:cubicBezTo>
                    <a:pt x="273" y="67"/>
                    <a:pt x="273" y="67"/>
                    <a:pt x="273" y="67"/>
                  </a:cubicBezTo>
                  <a:cubicBezTo>
                    <a:pt x="251" y="119"/>
                    <a:pt x="219" y="167"/>
                    <a:pt x="186" y="201"/>
                  </a:cubicBezTo>
                  <a:cubicBezTo>
                    <a:pt x="186" y="282"/>
                    <a:pt x="186" y="282"/>
                    <a:pt x="186" y="282"/>
                  </a:cubicBezTo>
                  <a:cubicBezTo>
                    <a:pt x="183" y="284"/>
                    <a:pt x="183" y="284"/>
                    <a:pt x="183" y="284"/>
                  </a:cubicBezTo>
                  <a:cubicBezTo>
                    <a:pt x="178" y="284"/>
                    <a:pt x="178" y="284"/>
                    <a:pt x="178" y="284"/>
                  </a:cubicBezTo>
                  <a:cubicBezTo>
                    <a:pt x="66" y="292"/>
                    <a:pt x="0" y="348"/>
                    <a:pt x="0" y="348"/>
                  </a:cubicBezTo>
                  <a:cubicBezTo>
                    <a:pt x="126" y="270"/>
                    <a:pt x="269" y="306"/>
                    <a:pt x="269" y="306"/>
                  </a:cubicBezTo>
                  <a:cubicBezTo>
                    <a:pt x="280" y="304"/>
                    <a:pt x="280" y="304"/>
                    <a:pt x="280" y="304"/>
                  </a:cubicBezTo>
                  <a:cubicBezTo>
                    <a:pt x="280" y="69"/>
                    <a:pt x="280" y="69"/>
                    <a:pt x="280" y="69"/>
                  </a:cubicBezTo>
                  <a:lnTo>
                    <a:pt x="273" y="67"/>
                  </a:lnTo>
                  <a:close/>
                  <a:moveTo>
                    <a:pt x="357" y="123"/>
                  </a:moveTo>
                  <a:cubicBezTo>
                    <a:pt x="357" y="123"/>
                    <a:pt x="357" y="123"/>
                    <a:pt x="357" y="123"/>
                  </a:cubicBezTo>
                  <a:cubicBezTo>
                    <a:pt x="357" y="123"/>
                    <a:pt x="345" y="139"/>
                    <a:pt x="308" y="172"/>
                  </a:cubicBezTo>
                  <a:cubicBezTo>
                    <a:pt x="300" y="180"/>
                    <a:pt x="295" y="184"/>
                    <a:pt x="287" y="191"/>
                  </a:cubicBezTo>
                  <a:cubicBezTo>
                    <a:pt x="287" y="312"/>
                    <a:pt x="287" y="312"/>
                    <a:pt x="287" y="312"/>
                  </a:cubicBezTo>
                  <a:cubicBezTo>
                    <a:pt x="279" y="314"/>
                    <a:pt x="279" y="314"/>
                    <a:pt x="279" y="314"/>
                  </a:cubicBezTo>
                  <a:cubicBezTo>
                    <a:pt x="279" y="314"/>
                    <a:pt x="248" y="304"/>
                    <a:pt x="194" y="302"/>
                  </a:cubicBezTo>
                  <a:cubicBezTo>
                    <a:pt x="140" y="300"/>
                    <a:pt x="61" y="315"/>
                    <a:pt x="0" y="348"/>
                  </a:cubicBezTo>
                  <a:cubicBezTo>
                    <a:pt x="2" y="348"/>
                    <a:pt x="2" y="348"/>
                    <a:pt x="2" y="348"/>
                  </a:cubicBezTo>
                  <a:cubicBezTo>
                    <a:pt x="2" y="348"/>
                    <a:pt x="166" y="284"/>
                    <a:pt x="356" y="349"/>
                  </a:cubicBezTo>
                  <a:cubicBezTo>
                    <a:pt x="356" y="349"/>
                    <a:pt x="356" y="349"/>
                    <a:pt x="356" y="349"/>
                  </a:cubicBezTo>
                  <a:cubicBezTo>
                    <a:pt x="363" y="347"/>
                    <a:pt x="363" y="347"/>
                    <a:pt x="363" y="347"/>
                  </a:cubicBezTo>
                  <a:cubicBezTo>
                    <a:pt x="363" y="127"/>
                    <a:pt x="363" y="127"/>
                    <a:pt x="363" y="127"/>
                  </a:cubicBezTo>
                  <a:lnTo>
                    <a:pt x="357" y="123"/>
                  </a:lnTo>
                  <a:close/>
                  <a:moveTo>
                    <a:pt x="180" y="10"/>
                  </a:moveTo>
                  <a:cubicBezTo>
                    <a:pt x="171" y="8"/>
                    <a:pt x="171" y="8"/>
                    <a:pt x="171" y="8"/>
                  </a:cubicBezTo>
                  <a:cubicBezTo>
                    <a:pt x="171" y="8"/>
                    <a:pt x="171" y="8"/>
                    <a:pt x="171" y="8"/>
                  </a:cubicBezTo>
                  <a:cubicBezTo>
                    <a:pt x="171" y="8"/>
                    <a:pt x="171" y="8"/>
                    <a:pt x="171" y="8"/>
                  </a:cubicBezTo>
                  <a:cubicBezTo>
                    <a:pt x="171" y="8"/>
                    <a:pt x="171" y="8"/>
                    <a:pt x="171" y="8"/>
                  </a:cubicBezTo>
                  <a:cubicBezTo>
                    <a:pt x="171" y="9"/>
                    <a:pt x="171" y="9"/>
                    <a:pt x="171" y="9"/>
                  </a:cubicBezTo>
                  <a:cubicBezTo>
                    <a:pt x="170" y="16"/>
                    <a:pt x="160" y="73"/>
                    <a:pt x="119" y="154"/>
                  </a:cubicBezTo>
                  <a:cubicBezTo>
                    <a:pt x="94" y="201"/>
                    <a:pt x="57" y="261"/>
                    <a:pt x="0" y="320"/>
                  </a:cubicBezTo>
                  <a:cubicBezTo>
                    <a:pt x="0" y="348"/>
                    <a:pt x="0" y="348"/>
                    <a:pt x="0" y="348"/>
                  </a:cubicBezTo>
                  <a:cubicBezTo>
                    <a:pt x="0" y="348"/>
                    <a:pt x="60" y="290"/>
                    <a:pt x="170" y="279"/>
                  </a:cubicBezTo>
                  <a:cubicBezTo>
                    <a:pt x="173" y="278"/>
                    <a:pt x="173" y="278"/>
                    <a:pt x="173" y="278"/>
                  </a:cubicBezTo>
                  <a:cubicBezTo>
                    <a:pt x="180" y="276"/>
                    <a:pt x="180" y="276"/>
                    <a:pt x="180" y="276"/>
                  </a:cubicBezTo>
                  <a:lnTo>
                    <a:pt x="180" y="10"/>
                  </a:lnTo>
                  <a:close/>
                </a:path>
              </a:pathLst>
            </a:custGeom>
            <a:solidFill>
              <a:srgbClr val="002050"/>
            </a:solidFill>
            <a:ln>
              <a:noFill/>
            </a:ln>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24" name="Freeform 13"/>
            <p:cNvSpPr>
              <a:spLocks noChangeAspect="1" noEditPoints="1"/>
            </p:cNvSpPr>
            <p:nvPr/>
          </p:nvSpPr>
          <p:spPr bwMode="black">
            <a:xfrm>
              <a:off x="11077576" y="4605874"/>
              <a:ext cx="614310" cy="446066"/>
            </a:xfrm>
            <a:custGeom>
              <a:avLst/>
              <a:gdLst>
                <a:gd name="T0" fmla="*/ 187 w 1098"/>
                <a:gd name="T1" fmla="*/ 61 h 796"/>
                <a:gd name="T2" fmla="*/ 33 w 1098"/>
                <a:gd name="T3" fmla="*/ 81 h 796"/>
                <a:gd name="T4" fmla="*/ 112 w 1098"/>
                <a:gd name="T5" fmla="*/ 180 h 796"/>
                <a:gd name="T6" fmla="*/ 285 w 1098"/>
                <a:gd name="T7" fmla="*/ 21 h 796"/>
                <a:gd name="T8" fmla="*/ 269 w 1098"/>
                <a:gd name="T9" fmla="*/ 6 h 796"/>
                <a:gd name="T10" fmla="*/ 281 w 1098"/>
                <a:gd name="T11" fmla="*/ 72 h 796"/>
                <a:gd name="T12" fmla="*/ 309 w 1098"/>
                <a:gd name="T13" fmla="*/ 148 h 796"/>
                <a:gd name="T14" fmla="*/ 346 w 1098"/>
                <a:gd name="T15" fmla="*/ 104 h 796"/>
                <a:gd name="T16" fmla="*/ 519 w 1098"/>
                <a:gd name="T17" fmla="*/ 96 h 796"/>
                <a:gd name="T18" fmla="*/ 444 w 1098"/>
                <a:gd name="T19" fmla="*/ 72 h 796"/>
                <a:gd name="T20" fmla="*/ 519 w 1098"/>
                <a:gd name="T21" fmla="*/ 72 h 796"/>
                <a:gd name="T22" fmla="*/ 521 w 1098"/>
                <a:gd name="T23" fmla="*/ 146 h 796"/>
                <a:gd name="T24" fmla="*/ 627 w 1098"/>
                <a:gd name="T25" fmla="*/ 103 h 796"/>
                <a:gd name="T26" fmla="*/ 628 w 1098"/>
                <a:gd name="T27" fmla="*/ 186 h 796"/>
                <a:gd name="T28" fmla="*/ 681 w 1098"/>
                <a:gd name="T29" fmla="*/ 186 h 796"/>
                <a:gd name="T30" fmla="*/ 681 w 1098"/>
                <a:gd name="T31" fmla="*/ 111 h 796"/>
                <a:gd name="T32" fmla="*/ 712 w 1098"/>
                <a:gd name="T33" fmla="*/ 94 h 796"/>
                <a:gd name="T34" fmla="*/ 926 w 1098"/>
                <a:gd name="T35" fmla="*/ 144 h 796"/>
                <a:gd name="T36" fmla="*/ 858 w 1098"/>
                <a:gd name="T37" fmla="*/ 69 h 796"/>
                <a:gd name="T38" fmla="*/ 821 w 1098"/>
                <a:gd name="T39" fmla="*/ 103 h 796"/>
                <a:gd name="T40" fmla="*/ 1020 w 1098"/>
                <a:gd name="T41" fmla="*/ 23 h 796"/>
                <a:gd name="T42" fmla="*/ 981 w 1098"/>
                <a:gd name="T43" fmla="*/ 92 h 796"/>
                <a:gd name="T44" fmla="*/ 958 w 1098"/>
                <a:gd name="T45" fmla="*/ 72 h 796"/>
                <a:gd name="T46" fmla="*/ 1098 w 1098"/>
                <a:gd name="T47" fmla="*/ 215 h 796"/>
                <a:gd name="T48" fmla="*/ 1039 w 1098"/>
                <a:gd name="T49" fmla="*/ 72 h 796"/>
                <a:gd name="T50" fmla="*/ 1062 w 1098"/>
                <a:gd name="T51" fmla="*/ 92 h 796"/>
                <a:gd name="T52" fmla="*/ 134 w 1098"/>
                <a:gd name="T53" fmla="*/ 446 h 796"/>
                <a:gd name="T54" fmla="*/ 108 w 1098"/>
                <a:gd name="T55" fmla="*/ 315 h 796"/>
                <a:gd name="T56" fmla="*/ 134 w 1098"/>
                <a:gd name="T57" fmla="*/ 446 h 796"/>
                <a:gd name="T58" fmla="*/ 88 w 1098"/>
                <a:gd name="T59" fmla="*/ 380 h 796"/>
                <a:gd name="T60" fmla="*/ 65 w 1098"/>
                <a:gd name="T61" fmla="*/ 483 h 796"/>
                <a:gd name="T62" fmla="*/ 165 w 1098"/>
                <a:gd name="T63" fmla="*/ 320 h 796"/>
                <a:gd name="T64" fmla="*/ 187 w 1098"/>
                <a:gd name="T65" fmla="*/ 504 h 796"/>
                <a:gd name="T66" fmla="*/ 241 w 1098"/>
                <a:gd name="T67" fmla="*/ 485 h 796"/>
                <a:gd name="T68" fmla="*/ 215 w 1098"/>
                <a:gd name="T69" fmla="*/ 380 h 796"/>
                <a:gd name="T70" fmla="*/ 398 w 1098"/>
                <a:gd name="T71" fmla="*/ 504 h 796"/>
                <a:gd name="T72" fmla="*/ 456 w 1098"/>
                <a:gd name="T73" fmla="*/ 324 h 796"/>
                <a:gd name="T74" fmla="*/ 447 w 1098"/>
                <a:gd name="T75" fmla="*/ 497 h 796"/>
                <a:gd name="T76" fmla="*/ 449 w 1098"/>
                <a:gd name="T77" fmla="*/ 370 h 796"/>
                <a:gd name="T78" fmla="*/ 491 w 1098"/>
                <a:gd name="T79" fmla="*/ 436 h 796"/>
                <a:gd name="T80" fmla="*/ 526 w 1098"/>
                <a:gd name="T81" fmla="*/ 446 h 796"/>
                <a:gd name="T82" fmla="*/ 607 w 1098"/>
                <a:gd name="T83" fmla="*/ 504 h 796"/>
                <a:gd name="T84" fmla="*/ 646 w 1098"/>
                <a:gd name="T85" fmla="*/ 504 h 796"/>
                <a:gd name="T86" fmla="*/ 761 w 1098"/>
                <a:gd name="T87" fmla="*/ 360 h 796"/>
                <a:gd name="T88" fmla="*/ 20 w 1098"/>
                <a:gd name="T89" fmla="*/ 792 h 796"/>
                <a:gd name="T90" fmla="*/ 80 w 1098"/>
                <a:gd name="T91" fmla="*/ 723 h 796"/>
                <a:gd name="T92" fmla="*/ 104 w 1098"/>
                <a:gd name="T93" fmla="*/ 594 h 796"/>
                <a:gd name="T94" fmla="*/ 39 w 1098"/>
                <a:gd name="T95" fmla="*/ 667 h 796"/>
                <a:gd name="T96" fmla="*/ 168 w 1098"/>
                <a:gd name="T97" fmla="*/ 763 h 796"/>
                <a:gd name="T98" fmla="*/ 131 w 1098"/>
                <a:gd name="T99" fmla="*/ 721 h 796"/>
                <a:gd name="T100" fmla="*/ 257 w 1098"/>
                <a:gd name="T101" fmla="*/ 726 h 796"/>
                <a:gd name="T102" fmla="*/ 233 w 1098"/>
                <a:gd name="T103" fmla="*/ 707 h 796"/>
                <a:gd name="T104" fmla="*/ 283 w 1098"/>
                <a:gd name="T105" fmla="*/ 792 h 796"/>
                <a:gd name="T106" fmla="*/ 344 w 1098"/>
                <a:gd name="T107" fmla="*/ 646 h 796"/>
                <a:gd name="T108" fmla="*/ 365 w 1098"/>
                <a:gd name="T109" fmla="*/ 648 h 796"/>
                <a:gd name="T110" fmla="*/ 476 w 1098"/>
                <a:gd name="T111" fmla="*/ 648 h 796"/>
                <a:gd name="T112" fmla="*/ 621 w 1098"/>
                <a:gd name="T113" fmla="*/ 760 h 796"/>
                <a:gd name="T114" fmla="*/ 538 w 1098"/>
                <a:gd name="T115" fmla="*/ 655 h 796"/>
                <a:gd name="T116" fmla="*/ 598 w 1098"/>
                <a:gd name="T117" fmla="*/ 676 h 796"/>
                <a:gd name="T118" fmla="*/ 715 w 1098"/>
                <a:gd name="T119" fmla="*/ 667 h 796"/>
                <a:gd name="T120" fmla="*/ 681 w 1098"/>
                <a:gd name="T121" fmla="*/ 648 h 796"/>
                <a:gd name="T122" fmla="*/ 733 w 1098"/>
                <a:gd name="T123" fmla="*/ 67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8" h="796">
                  <a:moveTo>
                    <a:pt x="216" y="216"/>
                  </a:moveTo>
                  <a:cubicBezTo>
                    <a:pt x="192" y="216"/>
                    <a:pt x="192" y="216"/>
                    <a:pt x="192" y="216"/>
                  </a:cubicBezTo>
                  <a:cubicBezTo>
                    <a:pt x="192" y="81"/>
                    <a:pt x="192" y="81"/>
                    <a:pt x="192" y="81"/>
                  </a:cubicBezTo>
                  <a:cubicBezTo>
                    <a:pt x="192" y="70"/>
                    <a:pt x="193" y="57"/>
                    <a:pt x="194" y="42"/>
                  </a:cubicBezTo>
                  <a:cubicBezTo>
                    <a:pt x="193" y="42"/>
                    <a:pt x="193" y="42"/>
                    <a:pt x="193" y="42"/>
                  </a:cubicBezTo>
                  <a:cubicBezTo>
                    <a:pt x="191" y="51"/>
                    <a:pt x="189" y="57"/>
                    <a:pt x="187" y="61"/>
                  </a:cubicBezTo>
                  <a:cubicBezTo>
                    <a:pt x="118" y="216"/>
                    <a:pt x="118" y="216"/>
                    <a:pt x="118" y="216"/>
                  </a:cubicBezTo>
                  <a:cubicBezTo>
                    <a:pt x="107" y="216"/>
                    <a:pt x="107" y="216"/>
                    <a:pt x="107" y="216"/>
                  </a:cubicBezTo>
                  <a:cubicBezTo>
                    <a:pt x="38" y="63"/>
                    <a:pt x="38" y="63"/>
                    <a:pt x="38" y="63"/>
                  </a:cubicBezTo>
                  <a:cubicBezTo>
                    <a:pt x="36" y="58"/>
                    <a:pt x="34" y="51"/>
                    <a:pt x="32" y="42"/>
                  </a:cubicBezTo>
                  <a:cubicBezTo>
                    <a:pt x="31" y="42"/>
                    <a:pt x="31" y="42"/>
                    <a:pt x="31" y="42"/>
                  </a:cubicBezTo>
                  <a:cubicBezTo>
                    <a:pt x="32" y="50"/>
                    <a:pt x="33" y="63"/>
                    <a:pt x="33" y="81"/>
                  </a:cubicBezTo>
                  <a:cubicBezTo>
                    <a:pt x="33" y="216"/>
                    <a:pt x="33" y="216"/>
                    <a:pt x="33" y="216"/>
                  </a:cubicBezTo>
                  <a:cubicBezTo>
                    <a:pt x="10" y="216"/>
                    <a:pt x="10" y="216"/>
                    <a:pt x="10" y="216"/>
                  </a:cubicBezTo>
                  <a:cubicBezTo>
                    <a:pt x="10" y="15"/>
                    <a:pt x="10" y="15"/>
                    <a:pt x="10" y="15"/>
                  </a:cubicBezTo>
                  <a:cubicBezTo>
                    <a:pt x="41" y="15"/>
                    <a:pt x="41" y="15"/>
                    <a:pt x="41" y="15"/>
                  </a:cubicBezTo>
                  <a:cubicBezTo>
                    <a:pt x="103" y="155"/>
                    <a:pt x="103" y="155"/>
                    <a:pt x="103" y="155"/>
                  </a:cubicBezTo>
                  <a:cubicBezTo>
                    <a:pt x="108" y="166"/>
                    <a:pt x="111" y="174"/>
                    <a:pt x="112" y="180"/>
                  </a:cubicBezTo>
                  <a:cubicBezTo>
                    <a:pt x="113" y="180"/>
                    <a:pt x="113" y="180"/>
                    <a:pt x="113" y="180"/>
                  </a:cubicBezTo>
                  <a:cubicBezTo>
                    <a:pt x="118" y="167"/>
                    <a:pt x="121" y="158"/>
                    <a:pt x="123" y="155"/>
                  </a:cubicBezTo>
                  <a:cubicBezTo>
                    <a:pt x="186" y="15"/>
                    <a:pt x="186" y="15"/>
                    <a:pt x="186" y="15"/>
                  </a:cubicBezTo>
                  <a:cubicBezTo>
                    <a:pt x="216" y="15"/>
                    <a:pt x="216" y="15"/>
                    <a:pt x="216" y="15"/>
                  </a:cubicBezTo>
                  <a:lnTo>
                    <a:pt x="216" y="216"/>
                  </a:lnTo>
                  <a:close/>
                  <a:moveTo>
                    <a:pt x="285" y="21"/>
                  </a:moveTo>
                  <a:cubicBezTo>
                    <a:pt x="285" y="25"/>
                    <a:pt x="283" y="29"/>
                    <a:pt x="280" y="32"/>
                  </a:cubicBezTo>
                  <a:cubicBezTo>
                    <a:pt x="277" y="34"/>
                    <a:pt x="273" y="36"/>
                    <a:pt x="269" y="36"/>
                  </a:cubicBezTo>
                  <a:cubicBezTo>
                    <a:pt x="265" y="36"/>
                    <a:pt x="262" y="34"/>
                    <a:pt x="259" y="32"/>
                  </a:cubicBezTo>
                  <a:cubicBezTo>
                    <a:pt x="256" y="29"/>
                    <a:pt x="254" y="25"/>
                    <a:pt x="254" y="21"/>
                  </a:cubicBezTo>
                  <a:cubicBezTo>
                    <a:pt x="254" y="17"/>
                    <a:pt x="256" y="13"/>
                    <a:pt x="259" y="10"/>
                  </a:cubicBezTo>
                  <a:cubicBezTo>
                    <a:pt x="261" y="7"/>
                    <a:pt x="265" y="6"/>
                    <a:pt x="269" y="6"/>
                  </a:cubicBezTo>
                  <a:cubicBezTo>
                    <a:pt x="274" y="6"/>
                    <a:pt x="277" y="7"/>
                    <a:pt x="280" y="10"/>
                  </a:cubicBezTo>
                  <a:cubicBezTo>
                    <a:pt x="283" y="13"/>
                    <a:pt x="285" y="17"/>
                    <a:pt x="285" y="21"/>
                  </a:cubicBezTo>
                  <a:close/>
                  <a:moveTo>
                    <a:pt x="281" y="216"/>
                  </a:moveTo>
                  <a:cubicBezTo>
                    <a:pt x="258" y="216"/>
                    <a:pt x="258" y="216"/>
                    <a:pt x="258" y="216"/>
                  </a:cubicBezTo>
                  <a:cubicBezTo>
                    <a:pt x="258" y="72"/>
                    <a:pt x="258" y="72"/>
                    <a:pt x="258" y="72"/>
                  </a:cubicBezTo>
                  <a:cubicBezTo>
                    <a:pt x="281" y="72"/>
                    <a:pt x="281" y="72"/>
                    <a:pt x="281" y="72"/>
                  </a:cubicBezTo>
                  <a:lnTo>
                    <a:pt x="281" y="216"/>
                  </a:lnTo>
                  <a:close/>
                  <a:moveTo>
                    <a:pt x="417" y="210"/>
                  </a:moveTo>
                  <a:cubicBezTo>
                    <a:pt x="405" y="216"/>
                    <a:pt x="392" y="220"/>
                    <a:pt x="377" y="220"/>
                  </a:cubicBezTo>
                  <a:cubicBezTo>
                    <a:pt x="364" y="220"/>
                    <a:pt x="352" y="217"/>
                    <a:pt x="342" y="211"/>
                  </a:cubicBezTo>
                  <a:cubicBezTo>
                    <a:pt x="331" y="205"/>
                    <a:pt x="323" y="196"/>
                    <a:pt x="317" y="185"/>
                  </a:cubicBezTo>
                  <a:cubicBezTo>
                    <a:pt x="311" y="174"/>
                    <a:pt x="309" y="162"/>
                    <a:pt x="309" y="148"/>
                  </a:cubicBezTo>
                  <a:cubicBezTo>
                    <a:pt x="309" y="124"/>
                    <a:pt x="315" y="105"/>
                    <a:pt x="329" y="90"/>
                  </a:cubicBezTo>
                  <a:cubicBezTo>
                    <a:pt x="343" y="76"/>
                    <a:pt x="361" y="69"/>
                    <a:pt x="383" y="69"/>
                  </a:cubicBezTo>
                  <a:cubicBezTo>
                    <a:pt x="396" y="69"/>
                    <a:pt x="407" y="71"/>
                    <a:pt x="417" y="76"/>
                  </a:cubicBezTo>
                  <a:cubicBezTo>
                    <a:pt x="417" y="100"/>
                    <a:pt x="417" y="100"/>
                    <a:pt x="417" y="100"/>
                  </a:cubicBezTo>
                  <a:cubicBezTo>
                    <a:pt x="406" y="92"/>
                    <a:pt x="395" y="89"/>
                    <a:pt x="383" y="89"/>
                  </a:cubicBezTo>
                  <a:cubicBezTo>
                    <a:pt x="368" y="89"/>
                    <a:pt x="355" y="94"/>
                    <a:pt x="346" y="104"/>
                  </a:cubicBezTo>
                  <a:cubicBezTo>
                    <a:pt x="337" y="115"/>
                    <a:pt x="332" y="129"/>
                    <a:pt x="332" y="146"/>
                  </a:cubicBezTo>
                  <a:cubicBezTo>
                    <a:pt x="332" y="163"/>
                    <a:pt x="337" y="176"/>
                    <a:pt x="345" y="186"/>
                  </a:cubicBezTo>
                  <a:cubicBezTo>
                    <a:pt x="354" y="195"/>
                    <a:pt x="366" y="200"/>
                    <a:pt x="381" y="200"/>
                  </a:cubicBezTo>
                  <a:cubicBezTo>
                    <a:pt x="394" y="200"/>
                    <a:pt x="405" y="196"/>
                    <a:pt x="417" y="188"/>
                  </a:cubicBezTo>
                  <a:lnTo>
                    <a:pt x="417" y="210"/>
                  </a:lnTo>
                  <a:close/>
                  <a:moveTo>
                    <a:pt x="519" y="96"/>
                  </a:moveTo>
                  <a:cubicBezTo>
                    <a:pt x="515" y="93"/>
                    <a:pt x="509" y="91"/>
                    <a:pt x="501" y="91"/>
                  </a:cubicBezTo>
                  <a:cubicBezTo>
                    <a:pt x="491" y="91"/>
                    <a:pt x="483" y="96"/>
                    <a:pt x="476" y="105"/>
                  </a:cubicBezTo>
                  <a:cubicBezTo>
                    <a:pt x="470" y="115"/>
                    <a:pt x="467" y="128"/>
                    <a:pt x="467" y="143"/>
                  </a:cubicBezTo>
                  <a:cubicBezTo>
                    <a:pt x="467" y="216"/>
                    <a:pt x="467" y="216"/>
                    <a:pt x="467" y="216"/>
                  </a:cubicBezTo>
                  <a:cubicBezTo>
                    <a:pt x="444" y="216"/>
                    <a:pt x="444" y="216"/>
                    <a:pt x="444" y="216"/>
                  </a:cubicBezTo>
                  <a:cubicBezTo>
                    <a:pt x="444" y="72"/>
                    <a:pt x="444" y="72"/>
                    <a:pt x="444" y="72"/>
                  </a:cubicBezTo>
                  <a:cubicBezTo>
                    <a:pt x="467" y="72"/>
                    <a:pt x="467" y="72"/>
                    <a:pt x="467" y="72"/>
                  </a:cubicBezTo>
                  <a:cubicBezTo>
                    <a:pt x="467" y="102"/>
                    <a:pt x="467" y="102"/>
                    <a:pt x="467" y="102"/>
                  </a:cubicBezTo>
                  <a:cubicBezTo>
                    <a:pt x="467" y="102"/>
                    <a:pt x="467" y="102"/>
                    <a:pt x="467" y="102"/>
                  </a:cubicBezTo>
                  <a:cubicBezTo>
                    <a:pt x="470" y="92"/>
                    <a:pt x="475" y="84"/>
                    <a:pt x="482" y="78"/>
                  </a:cubicBezTo>
                  <a:cubicBezTo>
                    <a:pt x="489" y="73"/>
                    <a:pt x="496" y="70"/>
                    <a:pt x="505" y="70"/>
                  </a:cubicBezTo>
                  <a:cubicBezTo>
                    <a:pt x="511" y="70"/>
                    <a:pt x="516" y="70"/>
                    <a:pt x="519" y="72"/>
                  </a:cubicBezTo>
                  <a:lnTo>
                    <a:pt x="519" y="96"/>
                  </a:lnTo>
                  <a:close/>
                  <a:moveTo>
                    <a:pt x="663" y="144"/>
                  </a:moveTo>
                  <a:cubicBezTo>
                    <a:pt x="663" y="167"/>
                    <a:pt x="657" y="185"/>
                    <a:pt x="644" y="199"/>
                  </a:cubicBezTo>
                  <a:cubicBezTo>
                    <a:pt x="631" y="213"/>
                    <a:pt x="613" y="220"/>
                    <a:pt x="591" y="220"/>
                  </a:cubicBezTo>
                  <a:cubicBezTo>
                    <a:pt x="570" y="220"/>
                    <a:pt x="553" y="213"/>
                    <a:pt x="540" y="200"/>
                  </a:cubicBezTo>
                  <a:cubicBezTo>
                    <a:pt x="528" y="186"/>
                    <a:pt x="521" y="168"/>
                    <a:pt x="521" y="146"/>
                  </a:cubicBezTo>
                  <a:cubicBezTo>
                    <a:pt x="521" y="122"/>
                    <a:pt x="528" y="103"/>
                    <a:pt x="541" y="90"/>
                  </a:cubicBezTo>
                  <a:cubicBezTo>
                    <a:pt x="554" y="76"/>
                    <a:pt x="572" y="69"/>
                    <a:pt x="595" y="69"/>
                  </a:cubicBezTo>
                  <a:cubicBezTo>
                    <a:pt x="616" y="69"/>
                    <a:pt x="633" y="76"/>
                    <a:pt x="645" y="89"/>
                  </a:cubicBezTo>
                  <a:cubicBezTo>
                    <a:pt x="657" y="102"/>
                    <a:pt x="663" y="121"/>
                    <a:pt x="663" y="144"/>
                  </a:cubicBezTo>
                  <a:close/>
                  <a:moveTo>
                    <a:pt x="639" y="145"/>
                  </a:moveTo>
                  <a:cubicBezTo>
                    <a:pt x="639" y="127"/>
                    <a:pt x="635" y="113"/>
                    <a:pt x="627" y="103"/>
                  </a:cubicBezTo>
                  <a:cubicBezTo>
                    <a:pt x="619" y="93"/>
                    <a:pt x="608" y="89"/>
                    <a:pt x="593" y="89"/>
                  </a:cubicBezTo>
                  <a:cubicBezTo>
                    <a:pt x="578" y="89"/>
                    <a:pt x="567" y="93"/>
                    <a:pt x="558" y="103"/>
                  </a:cubicBezTo>
                  <a:cubicBezTo>
                    <a:pt x="549" y="113"/>
                    <a:pt x="545" y="127"/>
                    <a:pt x="545" y="145"/>
                  </a:cubicBezTo>
                  <a:cubicBezTo>
                    <a:pt x="545" y="162"/>
                    <a:pt x="549" y="176"/>
                    <a:pt x="558" y="186"/>
                  </a:cubicBezTo>
                  <a:cubicBezTo>
                    <a:pt x="567" y="195"/>
                    <a:pt x="578" y="200"/>
                    <a:pt x="593" y="200"/>
                  </a:cubicBezTo>
                  <a:cubicBezTo>
                    <a:pt x="608" y="200"/>
                    <a:pt x="620" y="195"/>
                    <a:pt x="628" y="186"/>
                  </a:cubicBezTo>
                  <a:cubicBezTo>
                    <a:pt x="635" y="176"/>
                    <a:pt x="639" y="163"/>
                    <a:pt x="639" y="145"/>
                  </a:cubicBezTo>
                  <a:close/>
                  <a:moveTo>
                    <a:pt x="770" y="178"/>
                  </a:moveTo>
                  <a:cubicBezTo>
                    <a:pt x="770" y="190"/>
                    <a:pt x="765" y="200"/>
                    <a:pt x="755" y="208"/>
                  </a:cubicBezTo>
                  <a:cubicBezTo>
                    <a:pt x="746" y="216"/>
                    <a:pt x="733" y="220"/>
                    <a:pt x="717" y="220"/>
                  </a:cubicBezTo>
                  <a:cubicBezTo>
                    <a:pt x="703" y="220"/>
                    <a:pt x="691" y="217"/>
                    <a:pt x="681" y="211"/>
                  </a:cubicBezTo>
                  <a:cubicBezTo>
                    <a:pt x="681" y="186"/>
                    <a:pt x="681" y="186"/>
                    <a:pt x="681" y="186"/>
                  </a:cubicBezTo>
                  <a:cubicBezTo>
                    <a:pt x="693" y="196"/>
                    <a:pt x="705" y="200"/>
                    <a:pt x="719" y="200"/>
                  </a:cubicBezTo>
                  <a:cubicBezTo>
                    <a:pt x="737" y="200"/>
                    <a:pt x="746" y="193"/>
                    <a:pt x="746" y="180"/>
                  </a:cubicBezTo>
                  <a:cubicBezTo>
                    <a:pt x="746" y="175"/>
                    <a:pt x="744" y="170"/>
                    <a:pt x="741" y="167"/>
                  </a:cubicBezTo>
                  <a:cubicBezTo>
                    <a:pt x="737" y="163"/>
                    <a:pt x="729" y="159"/>
                    <a:pt x="716" y="153"/>
                  </a:cubicBezTo>
                  <a:cubicBezTo>
                    <a:pt x="704" y="148"/>
                    <a:pt x="695" y="142"/>
                    <a:pt x="689" y="135"/>
                  </a:cubicBezTo>
                  <a:cubicBezTo>
                    <a:pt x="684" y="129"/>
                    <a:pt x="681" y="121"/>
                    <a:pt x="681" y="111"/>
                  </a:cubicBezTo>
                  <a:cubicBezTo>
                    <a:pt x="681" y="99"/>
                    <a:pt x="686" y="89"/>
                    <a:pt x="696" y="81"/>
                  </a:cubicBezTo>
                  <a:cubicBezTo>
                    <a:pt x="705" y="73"/>
                    <a:pt x="718" y="69"/>
                    <a:pt x="732" y="69"/>
                  </a:cubicBezTo>
                  <a:cubicBezTo>
                    <a:pt x="744" y="69"/>
                    <a:pt x="754" y="71"/>
                    <a:pt x="763" y="76"/>
                  </a:cubicBezTo>
                  <a:cubicBezTo>
                    <a:pt x="763" y="99"/>
                    <a:pt x="763" y="99"/>
                    <a:pt x="763" y="99"/>
                  </a:cubicBezTo>
                  <a:cubicBezTo>
                    <a:pt x="754" y="92"/>
                    <a:pt x="743" y="89"/>
                    <a:pt x="730" y="89"/>
                  </a:cubicBezTo>
                  <a:cubicBezTo>
                    <a:pt x="723" y="89"/>
                    <a:pt x="717" y="90"/>
                    <a:pt x="712" y="94"/>
                  </a:cubicBezTo>
                  <a:cubicBezTo>
                    <a:pt x="707" y="98"/>
                    <a:pt x="705" y="103"/>
                    <a:pt x="705" y="109"/>
                  </a:cubicBezTo>
                  <a:cubicBezTo>
                    <a:pt x="705" y="115"/>
                    <a:pt x="707" y="120"/>
                    <a:pt x="710" y="123"/>
                  </a:cubicBezTo>
                  <a:cubicBezTo>
                    <a:pt x="714" y="127"/>
                    <a:pt x="721" y="131"/>
                    <a:pt x="733" y="135"/>
                  </a:cubicBezTo>
                  <a:cubicBezTo>
                    <a:pt x="746" y="141"/>
                    <a:pt x="756" y="147"/>
                    <a:pt x="761" y="154"/>
                  </a:cubicBezTo>
                  <a:cubicBezTo>
                    <a:pt x="767" y="160"/>
                    <a:pt x="770" y="168"/>
                    <a:pt x="770" y="178"/>
                  </a:cubicBezTo>
                  <a:close/>
                  <a:moveTo>
                    <a:pt x="926" y="144"/>
                  </a:moveTo>
                  <a:cubicBezTo>
                    <a:pt x="926" y="167"/>
                    <a:pt x="920" y="185"/>
                    <a:pt x="907" y="199"/>
                  </a:cubicBezTo>
                  <a:cubicBezTo>
                    <a:pt x="894" y="213"/>
                    <a:pt x="877" y="220"/>
                    <a:pt x="855" y="220"/>
                  </a:cubicBezTo>
                  <a:cubicBezTo>
                    <a:pt x="833" y="220"/>
                    <a:pt x="816" y="213"/>
                    <a:pt x="804" y="200"/>
                  </a:cubicBezTo>
                  <a:cubicBezTo>
                    <a:pt x="791" y="186"/>
                    <a:pt x="785" y="168"/>
                    <a:pt x="785" y="146"/>
                  </a:cubicBezTo>
                  <a:cubicBezTo>
                    <a:pt x="785" y="122"/>
                    <a:pt x="791" y="103"/>
                    <a:pt x="804" y="90"/>
                  </a:cubicBezTo>
                  <a:cubicBezTo>
                    <a:pt x="817" y="76"/>
                    <a:pt x="835" y="69"/>
                    <a:pt x="858" y="69"/>
                  </a:cubicBezTo>
                  <a:cubicBezTo>
                    <a:pt x="879" y="69"/>
                    <a:pt x="896" y="76"/>
                    <a:pt x="908" y="89"/>
                  </a:cubicBezTo>
                  <a:cubicBezTo>
                    <a:pt x="920" y="102"/>
                    <a:pt x="926" y="121"/>
                    <a:pt x="926" y="144"/>
                  </a:cubicBezTo>
                  <a:close/>
                  <a:moveTo>
                    <a:pt x="903" y="145"/>
                  </a:moveTo>
                  <a:cubicBezTo>
                    <a:pt x="903" y="127"/>
                    <a:pt x="899" y="113"/>
                    <a:pt x="891" y="103"/>
                  </a:cubicBezTo>
                  <a:cubicBezTo>
                    <a:pt x="883" y="93"/>
                    <a:pt x="871" y="89"/>
                    <a:pt x="856" y="89"/>
                  </a:cubicBezTo>
                  <a:cubicBezTo>
                    <a:pt x="842" y="89"/>
                    <a:pt x="830" y="93"/>
                    <a:pt x="821" y="103"/>
                  </a:cubicBezTo>
                  <a:cubicBezTo>
                    <a:pt x="813" y="113"/>
                    <a:pt x="808" y="127"/>
                    <a:pt x="808" y="145"/>
                  </a:cubicBezTo>
                  <a:cubicBezTo>
                    <a:pt x="808" y="162"/>
                    <a:pt x="813" y="176"/>
                    <a:pt x="821" y="186"/>
                  </a:cubicBezTo>
                  <a:cubicBezTo>
                    <a:pt x="830" y="195"/>
                    <a:pt x="842" y="200"/>
                    <a:pt x="856" y="200"/>
                  </a:cubicBezTo>
                  <a:cubicBezTo>
                    <a:pt x="871" y="200"/>
                    <a:pt x="883" y="195"/>
                    <a:pt x="891" y="186"/>
                  </a:cubicBezTo>
                  <a:cubicBezTo>
                    <a:pt x="899" y="176"/>
                    <a:pt x="903" y="163"/>
                    <a:pt x="903" y="145"/>
                  </a:cubicBezTo>
                  <a:close/>
                  <a:moveTo>
                    <a:pt x="1020" y="23"/>
                  </a:moveTo>
                  <a:cubicBezTo>
                    <a:pt x="1016" y="21"/>
                    <a:pt x="1011" y="20"/>
                    <a:pt x="1005" y="20"/>
                  </a:cubicBezTo>
                  <a:cubicBezTo>
                    <a:pt x="989" y="20"/>
                    <a:pt x="981" y="30"/>
                    <a:pt x="981" y="50"/>
                  </a:cubicBezTo>
                  <a:cubicBezTo>
                    <a:pt x="981" y="72"/>
                    <a:pt x="981" y="72"/>
                    <a:pt x="981" y="72"/>
                  </a:cubicBezTo>
                  <a:cubicBezTo>
                    <a:pt x="1015" y="72"/>
                    <a:pt x="1015" y="72"/>
                    <a:pt x="1015" y="72"/>
                  </a:cubicBezTo>
                  <a:cubicBezTo>
                    <a:pt x="1015" y="92"/>
                    <a:pt x="1015" y="92"/>
                    <a:pt x="1015" y="92"/>
                  </a:cubicBezTo>
                  <a:cubicBezTo>
                    <a:pt x="981" y="92"/>
                    <a:pt x="981" y="92"/>
                    <a:pt x="981" y="92"/>
                  </a:cubicBezTo>
                  <a:cubicBezTo>
                    <a:pt x="981" y="216"/>
                    <a:pt x="981" y="216"/>
                    <a:pt x="981" y="216"/>
                  </a:cubicBezTo>
                  <a:cubicBezTo>
                    <a:pt x="958" y="216"/>
                    <a:pt x="958" y="216"/>
                    <a:pt x="958" y="216"/>
                  </a:cubicBezTo>
                  <a:cubicBezTo>
                    <a:pt x="958" y="92"/>
                    <a:pt x="958" y="92"/>
                    <a:pt x="958" y="92"/>
                  </a:cubicBezTo>
                  <a:cubicBezTo>
                    <a:pt x="933" y="92"/>
                    <a:pt x="933" y="92"/>
                    <a:pt x="933" y="92"/>
                  </a:cubicBezTo>
                  <a:cubicBezTo>
                    <a:pt x="933" y="72"/>
                    <a:pt x="933" y="72"/>
                    <a:pt x="933" y="72"/>
                  </a:cubicBezTo>
                  <a:cubicBezTo>
                    <a:pt x="958" y="72"/>
                    <a:pt x="958" y="72"/>
                    <a:pt x="958" y="72"/>
                  </a:cubicBezTo>
                  <a:cubicBezTo>
                    <a:pt x="958" y="49"/>
                    <a:pt x="958" y="49"/>
                    <a:pt x="958" y="49"/>
                  </a:cubicBezTo>
                  <a:cubicBezTo>
                    <a:pt x="958" y="34"/>
                    <a:pt x="962" y="23"/>
                    <a:pt x="971" y="14"/>
                  </a:cubicBezTo>
                  <a:cubicBezTo>
                    <a:pt x="979" y="5"/>
                    <a:pt x="990" y="0"/>
                    <a:pt x="1004" y="0"/>
                  </a:cubicBezTo>
                  <a:cubicBezTo>
                    <a:pt x="1011" y="0"/>
                    <a:pt x="1016" y="1"/>
                    <a:pt x="1020" y="3"/>
                  </a:cubicBezTo>
                  <a:lnTo>
                    <a:pt x="1020" y="23"/>
                  </a:lnTo>
                  <a:close/>
                  <a:moveTo>
                    <a:pt x="1098" y="215"/>
                  </a:moveTo>
                  <a:cubicBezTo>
                    <a:pt x="1093" y="218"/>
                    <a:pt x="1086" y="220"/>
                    <a:pt x="1077" y="220"/>
                  </a:cubicBezTo>
                  <a:cubicBezTo>
                    <a:pt x="1052" y="220"/>
                    <a:pt x="1039" y="205"/>
                    <a:pt x="1039" y="177"/>
                  </a:cubicBezTo>
                  <a:cubicBezTo>
                    <a:pt x="1039" y="92"/>
                    <a:pt x="1039" y="92"/>
                    <a:pt x="1039" y="92"/>
                  </a:cubicBezTo>
                  <a:cubicBezTo>
                    <a:pt x="1014" y="92"/>
                    <a:pt x="1014" y="92"/>
                    <a:pt x="1014" y="92"/>
                  </a:cubicBezTo>
                  <a:cubicBezTo>
                    <a:pt x="1014" y="72"/>
                    <a:pt x="1014" y="72"/>
                    <a:pt x="1014" y="72"/>
                  </a:cubicBezTo>
                  <a:cubicBezTo>
                    <a:pt x="1039" y="72"/>
                    <a:pt x="1039" y="72"/>
                    <a:pt x="1039" y="72"/>
                  </a:cubicBezTo>
                  <a:cubicBezTo>
                    <a:pt x="1039" y="37"/>
                    <a:pt x="1039" y="37"/>
                    <a:pt x="1039" y="37"/>
                  </a:cubicBezTo>
                  <a:cubicBezTo>
                    <a:pt x="1062" y="30"/>
                    <a:pt x="1062" y="30"/>
                    <a:pt x="1062" y="30"/>
                  </a:cubicBezTo>
                  <a:cubicBezTo>
                    <a:pt x="1062" y="72"/>
                    <a:pt x="1062" y="72"/>
                    <a:pt x="1062" y="72"/>
                  </a:cubicBezTo>
                  <a:cubicBezTo>
                    <a:pt x="1098" y="72"/>
                    <a:pt x="1098" y="72"/>
                    <a:pt x="1098" y="72"/>
                  </a:cubicBezTo>
                  <a:cubicBezTo>
                    <a:pt x="1098" y="92"/>
                    <a:pt x="1098" y="92"/>
                    <a:pt x="1098" y="92"/>
                  </a:cubicBezTo>
                  <a:cubicBezTo>
                    <a:pt x="1062" y="92"/>
                    <a:pt x="1062" y="92"/>
                    <a:pt x="1062" y="92"/>
                  </a:cubicBezTo>
                  <a:cubicBezTo>
                    <a:pt x="1062" y="173"/>
                    <a:pt x="1062" y="173"/>
                    <a:pt x="1062" y="173"/>
                  </a:cubicBezTo>
                  <a:cubicBezTo>
                    <a:pt x="1062" y="183"/>
                    <a:pt x="1064" y="190"/>
                    <a:pt x="1067" y="194"/>
                  </a:cubicBezTo>
                  <a:cubicBezTo>
                    <a:pt x="1070" y="198"/>
                    <a:pt x="1076" y="200"/>
                    <a:pt x="1083" y="200"/>
                  </a:cubicBezTo>
                  <a:cubicBezTo>
                    <a:pt x="1089" y="200"/>
                    <a:pt x="1094" y="198"/>
                    <a:pt x="1098" y="195"/>
                  </a:cubicBezTo>
                  <a:lnTo>
                    <a:pt x="1098" y="215"/>
                  </a:lnTo>
                  <a:close/>
                  <a:moveTo>
                    <a:pt x="134" y="446"/>
                  </a:moveTo>
                  <a:cubicBezTo>
                    <a:pt x="134" y="463"/>
                    <a:pt x="128" y="477"/>
                    <a:pt x="116" y="488"/>
                  </a:cubicBezTo>
                  <a:cubicBezTo>
                    <a:pt x="103" y="499"/>
                    <a:pt x="88" y="504"/>
                    <a:pt x="69" y="504"/>
                  </a:cubicBezTo>
                  <a:cubicBezTo>
                    <a:pt x="10" y="504"/>
                    <a:pt x="10" y="504"/>
                    <a:pt x="10" y="504"/>
                  </a:cubicBezTo>
                  <a:cubicBezTo>
                    <a:pt x="10" y="303"/>
                    <a:pt x="10" y="303"/>
                    <a:pt x="10" y="303"/>
                  </a:cubicBezTo>
                  <a:cubicBezTo>
                    <a:pt x="67" y="303"/>
                    <a:pt x="67" y="303"/>
                    <a:pt x="67" y="303"/>
                  </a:cubicBezTo>
                  <a:cubicBezTo>
                    <a:pt x="84" y="303"/>
                    <a:pt x="98" y="307"/>
                    <a:pt x="108" y="315"/>
                  </a:cubicBezTo>
                  <a:cubicBezTo>
                    <a:pt x="119" y="324"/>
                    <a:pt x="124" y="335"/>
                    <a:pt x="124" y="349"/>
                  </a:cubicBezTo>
                  <a:cubicBezTo>
                    <a:pt x="124" y="360"/>
                    <a:pt x="121" y="370"/>
                    <a:pt x="115" y="378"/>
                  </a:cubicBezTo>
                  <a:cubicBezTo>
                    <a:pt x="108" y="387"/>
                    <a:pt x="100" y="393"/>
                    <a:pt x="89" y="397"/>
                  </a:cubicBezTo>
                  <a:cubicBezTo>
                    <a:pt x="89" y="397"/>
                    <a:pt x="89" y="397"/>
                    <a:pt x="89" y="397"/>
                  </a:cubicBezTo>
                  <a:cubicBezTo>
                    <a:pt x="103" y="399"/>
                    <a:pt x="114" y="404"/>
                    <a:pt x="122" y="413"/>
                  </a:cubicBezTo>
                  <a:cubicBezTo>
                    <a:pt x="130" y="421"/>
                    <a:pt x="134" y="433"/>
                    <a:pt x="134" y="446"/>
                  </a:cubicBezTo>
                  <a:close/>
                  <a:moveTo>
                    <a:pt x="99" y="353"/>
                  </a:moveTo>
                  <a:cubicBezTo>
                    <a:pt x="99" y="334"/>
                    <a:pt x="86" y="324"/>
                    <a:pt x="61" y="324"/>
                  </a:cubicBezTo>
                  <a:cubicBezTo>
                    <a:pt x="33" y="324"/>
                    <a:pt x="33" y="324"/>
                    <a:pt x="33" y="324"/>
                  </a:cubicBezTo>
                  <a:cubicBezTo>
                    <a:pt x="33" y="389"/>
                    <a:pt x="33" y="389"/>
                    <a:pt x="33" y="389"/>
                  </a:cubicBezTo>
                  <a:cubicBezTo>
                    <a:pt x="58" y="389"/>
                    <a:pt x="58" y="389"/>
                    <a:pt x="58" y="389"/>
                  </a:cubicBezTo>
                  <a:cubicBezTo>
                    <a:pt x="70" y="389"/>
                    <a:pt x="81" y="386"/>
                    <a:pt x="88" y="380"/>
                  </a:cubicBezTo>
                  <a:cubicBezTo>
                    <a:pt x="95" y="374"/>
                    <a:pt x="99" y="365"/>
                    <a:pt x="99" y="353"/>
                  </a:cubicBezTo>
                  <a:close/>
                  <a:moveTo>
                    <a:pt x="109" y="446"/>
                  </a:moveTo>
                  <a:cubicBezTo>
                    <a:pt x="109" y="422"/>
                    <a:pt x="93" y="410"/>
                    <a:pt x="61" y="410"/>
                  </a:cubicBezTo>
                  <a:cubicBezTo>
                    <a:pt x="33" y="410"/>
                    <a:pt x="33" y="410"/>
                    <a:pt x="33" y="410"/>
                  </a:cubicBezTo>
                  <a:cubicBezTo>
                    <a:pt x="33" y="483"/>
                    <a:pt x="33" y="483"/>
                    <a:pt x="33" y="483"/>
                  </a:cubicBezTo>
                  <a:cubicBezTo>
                    <a:pt x="65" y="483"/>
                    <a:pt x="65" y="483"/>
                    <a:pt x="65" y="483"/>
                  </a:cubicBezTo>
                  <a:cubicBezTo>
                    <a:pt x="79" y="483"/>
                    <a:pt x="90" y="480"/>
                    <a:pt x="98" y="473"/>
                  </a:cubicBezTo>
                  <a:cubicBezTo>
                    <a:pt x="105" y="466"/>
                    <a:pt x="109" y="457"/>
                    <a:pt x="109" y="446"/>
                  </a:cubicBezTo>
                  <a:close/>
                  <a:moveTo>
                    <a:pt x="191" y="309"/>
                  </a:moveTo>
                  <a:cubicBezTo>
                    <a:pt x="191" y="313"/>
                    <a:pt x="190" y="317"/>
                    <a:pt x="187" y="320"/>
                  </a:cubicBezTo>
                  <a:cubicBezTo>
                    <a:pt x="184" y="322"/>
                    <a:pt x="180" y="324"/>
                    <a:pt x="176" y="324"/>
                  </a:cubicBezTo>
                  <a:cubicBezTo>
                    <a:pt x="172" y="324"/>
                    <a:pt x="168" y="322"/>
                    <a:pt x="165" y="320"/>
                  </a:cubicBezTo>
                  <a:cubicBezTo>
                    <a:pt x="162" y="317"/>
                    <a:pt x="161" y="313"/>
                    <a:pt x="161" y="309"/>
                  </a:cubicBezTo>
                  <a:cubicBezTo>
                    <a:pt x="161" y="305"/>
                    <a:pt x="162" y="301"/>
                    <a:pt x="165" y="298"/>
                  </a:cubicBezTo>
                  <a:cubicBezTo>
                    <a:pt x="168" y="295"/>
                    <a:pt x="172" y="294"/>
                    <a:pt x="176" y="294"/>
                  </a:cubicBezTo>
                  <a:cubicBezTo>
                    <a:pt x="180" y="294"/>
                    <a:pt x="184" y="295"/>
                    <a:pt x="187" y="298"/>
                  </a:cubicBezTo>
                  <a:cubicBezTo>
                    <a:pt x="190" y="301"/>
                    <a:pt x="191" y="305"/>
                    <a:pt x="191" y="309"/>
                  </a:cubicBezTo>
                  <a:close/>
                  <a:moveTo>
                    <a:pt x="187" y="504"/>
                  </a:moveTo>
                  <a:cubicBezTo>
                    <a:pt x="164" y="504"/>
                    <a:pt x="164" y="504"/>
                    <a:pt x="164" y="504"/>
                  </a:cubicBezTo>
                  <a:cubicBezTo>
                    <a:pt x="164" y="360"/>
                    <a:pt x="164" y="360"/>
                    <a:pt x="164" y="360"/>
                  </a:cubicBezTo>
                  <a:cubicBezTo>
                    <a:pt x="187" y="360"/>
                    <a:pt x="187" y="360"/>
                    <a:pt x="187" y="360"/>
                  </a:cubicBezTo>
                  <a:lnTo>
                    <a:pt x="187" y="504"/>
                  </a:lnTo>
                  <a:close/>
                  <a:moveTo>
                    <a:pt x="327" y="367"/>
                  </a:moveTo>
                  <a:cubicBezTo>
                    <a:pt x="241" y="485"/>
                    <a:pt x="241" y="485"/>
                    <a:pt x="241" y="485"/>
                  </a:cubicBezTo>
                  <a:cubicBezTo>
                    <a:pt x="326" y="485"/>
                    <a:pt x="326" y="485"/>
                    <a:pt x="326" y="485"/>
                  </a:cubicBezTo>
                  <a:cubicBezTo>
                    <a:pt x="326" y="504"/>
                    <a:pt x="326" y="504"/>
                    <a:pt x="326" y="504"/>
                  </a:cubicBezTo>
                  <a:cubicBezTo>
                    <a:pt x="207" y="504"/>
                    <a:pt x="207" y="504"/>
                    <a:pt x="207" y="504"/>
                  </a:cubicBezTo>
                  <a:cubicBezTo>
                    <a:pt x="207" y="497"/>
                    <a:pt x="207" y="497"/>
                    <a:pt x="207" y="497"/>
                  </a:cubicBezTo>
                  <a:cubicBezTo>
                    <a:pt x="293" y="380"/>
                    <a:pt x="293" y="380"/>
                    <a:pt x="293" y="380"/>
                  </a:cubicBezTo>
                  <a:cubicBezTo>
                    <a:pt x="215" y="380"/>
                    <a:pt x="215" y="380"/>
                    <a:pt x="215" y="380"/>
                  </a:cubicBezTo>
                  <a:cubicBezTo>
                    <a:pt x="215" y="360"/>
                    <a:pt x="215" y="360"/>
                    <a:pt x="215" y="360"/>
                  </a:cubicBezTo>
                  <a:cubicBezTo>
                    <a:pt x="327" y="360"/>
                    <a:pt x="327" y="360"/>
                    <a:pt x="327" y="360"/>
                  </a:cubicBezTo>
                  <a:lnTo>
                    <a:pt x="327" y="367"/>
                  </a:lnTo>
                  <a:close/>
                  <a:moveTo>
                    <a:pt x="456" y="324"/>
                  </a:moveTo>
                  <a:cubicBezTo>
                    <a:pt x="398" y="324"/>
                    <a:pt x="398" y="324"/>
                    <a:pt x="398" y="324"/>
                  </a:cubicBezTo>
                  <a:cubicBezTo>
                    <a:pt x="398" y="504"/>
                    <a:pt x="398" y="504"/>
                    <a:pt x="398" y="504"/>
                  </a:cubicBezTo>
                  <a:cubicBezTo>
                    <a:pt x="375" y="504"/>
                    <a:pt x="375" y="504"/>
                    <a:pt x="375" y="504"/>
                  </a:cubicBezTo>
                  <a:cubicBezTo>
                    <a:pt x="375" y="324"/>
                    <a:pt x="375" y="324"/>
                    <a:pt x="375" y="324"/>
                  </a:cubicBezTo>
                  <a:cubicBezTo>
                    <a:pt x="316" y="324"/>
                    <a:pt x="316" y="324"/>
                    <a:pt x="316" y="324"/>
                  </a:cubicBezTo>
                  <a:cubicBezTo>
                    <a:pt x="316" y="303"/>
                    <a:pt x="316" y="303"/>
                    <a:pt x="316" y="303"/>
                  </a:cubicBezTo>
                  <a:cubicBezTo>
                    <a:pt x="456" y="303"/>
                    <a:pt x="456" y="303"/>
                    <a:pt x="456" y="303"/>
                  </a:cubicBezTo>
                  <a:lnTo>
                    <a:pt x="456" y="324"/>
                  </a:lnTo>
                  <a:close/>
                  <a:moveTo>
                    <a:pt x="549" y="504"/>
                  </a:moveTo>
                  <a:cubicBezTo>
                    <a:pt x="526" y="504"/>
                    <a:pt x="526" y="504"/>
                    <a:pt x="526" y="504"/>
                  </a:cubicBezTo>
                  <a:cubicBezTo>
                    <a:pt x="526" y="482"/>
                    <a:pt x="526" y="482"/>
                    <a:pt x="526" y="482"/>
                  </a:cubicBezTo>
                  <a:cubicBezTo>
                    <a:pt x="525" y="482"/>
                    <a:pt x="525" y="482"/>
                    <a:pt x="525" y="482"/>
                  </a:cubicBezTo>
                  <a:cubicBezTo>
                    <a:pt x="515" y="499"/>
                    <a:pt x="500" y="508"/>
                    <a:pt x="481" y="508"/>
                  </a:cubicBezTo>
                  <a:cubicBezTo>
                    <a:pt x="467" y="508"/>
                    <a:pt x="456" y="504"/>
                    <a:pt x="447" y="497"/>
                  </a:cubicBezTo>
                  <a:cubicBezTo>
                    <a:pt x="439" y="489"/>
                    <a:pt x="435" y="479"/>
                    <a:pt x="435" y="466"/>
                  </a:cubicBezTo>
                  <a:cubicBezTo>
                    <a:pt x="435" y="439"/>
                    <a:pt x="451" y="424"/>
                    <a:pt x="482" y="419"/>
                  </a:cubicBezTo>
                  <a:cubicBezTo>
                    <a:pt x="526" y="413"/>
                    <a:pt x="526" y="413"/>
                    <a:pt x="526" y="413"/>
                  </a:cubicBezTo>
                  <a:cubicBezTo>
                    <a:pt x="526" y="389"/>
                    <a:pt x="516" y="377"/>
                    <a:pt x="496" y="377"/>
                  </a:cubicBezTo>
                  <a:cubicBezTo>
                    <a:pt x="479" y="377"/>
                    <a:pt x="463" y="382"/>
                    <a:pt x="449" y="394"/>
                  </a:cubicBezTo>
                  <a:cubicBezTo>
                    <a:pt x="449" y="370"/>
                    <a:pt x="449" y="370"/>
                    <a:pt x="449" y="370"/>
                  </a:cubicBezTo>
                  <a:cubicBezTo>
                    <a:pt x="453" y="367"/>
                    <a:pt x="460" y="364"/>
                    <a:pt x="471" y="361"/>
                  </a:cubicBezTo>
                  <a:cubicBezTo>
                    <a:pt x="481" y="358"/>
                    <a:pt x="490" y="357"/>
                    <a:pt x="498" y="357"/>
                  </a:cubicBezTo>
                  <a:cubicBezTo>
                    <a:pt x="532" y="357"/>
                    <a:pt x="549" y="375"/>
                    <a:pt x="549" y="411"/>
                  </a:cubicBezTo>
                  <a:lnTo>
                    <a:pt x="549" y="504"/>
                  </a:lnTo>
                  <a:close/>
                  <a:moveTo>
                    <a:pt x="526" y="432"/>
                  </a:moveTo>
                  <a:cubicBezTo>
                    <a:pt x="491" y="436"/>
                    <a:pt x="491" y="436"/>
                    <a:pt x="491" y="436"/>
                  </a:cubicBezTo>
                  <a:cubicBezTo>
                    <a:pt x="479" y="438"/>
                    <a:pt x="470" y="441"/>
                    <a:pt x="466" y="445"/>
                  </a:cubicBezTo>
                  <a:cubicBezTo>
                    <a:pt x="461" y="449"/>
                    <a:pt x="458" y="455"/>
                    <a:pt x="458" y="464"/>
                  </a:cubicBezTo>
                  <a:cubicBezTo>
                    <a:pt x="458" y="472"/>
                    <a:pt x="461" y="477"/>
                    <a:pt x="466" y="482"/>
                  </a:cubicBezTo>
                  <a:cubicBezTo>
                    <a:pt x="471" y="486"/>
                    <a:pt x="478" y="488"/>
                    <a:pt x="486" y="488"/>
                  </a:cubicBezTo>
                  <a:cubicBezTo>
                    <a:pt x="497" y="488"/>
                    <a:pt x="507" y="484"/>
                    <a:pt x="514" y="476"/>
                  </a:cubicBezTo>
                  <a:cubicBezTo>
                    <a:pt x="522" y="468"/>
                    <a:pt x="526" y="458"/>
                    <a:pt x="526" y="446"/>
                  </a:cubicBezTo>
                  <a:lnTo>
                    <a:pt x="526" y="432"/>
                  </a:lnTo>
                  <a:close/>
                  <a:moveTo>
                    <a:pt x="607" y="504"/>
                  </a:moveTo>
                  <a:cubicBezTo>
                    <a:pt x="584" y="504"/>
                    <a:pt x="584" y="504"/>
                    <a:pt x="584" y="504"/>
                  </a:cubicBezTo>
                  <a:cubicBezTo>
                    <a:pt x="584" y="291"/>
                    <a:pt x="584" y="291"/>
                    <a:pt x="584" y="291"/>
                  </a:cubicBezTo>
                  <a:cubicBezTo>
                    <a:pt x="607" y="291"/>
                    <a:pt x="607" y="291"/>
                    <a:pt x="607" y="291"/>
                  </a:cubicBezTo>
                  <a:lnTo>
                    <a:pt x="607" y="504"/>
                  </a:lnTo>
                  <a:close/>
                  <a:moveTo>
                    <a:pt x="766" y="504"/>
                  </a:moveTo>
                  <a:cubicBezTo>
                    <a:pt x="733" y="504"/>
                    <a:pt x="733" y="504"/>
                    <a:pt x="733" y="504"/>
                  </a:cubicBezTo>
                  <a:cubicBezTo>
                    <a:pt x="670" y="435"/>
                    <a:pt x="670" y="435"/>
                    <a:pt x="670" y="435"/>
                  </a:cubicBezTo>
                  <a:cubicBezTo>
                    <a:pt x="669" y="435"/>
                    <a:pt x="669" y="435"/>
                    <a:pt x="669" y="435"/>
                  </a:cubicBezTo>
                  <a:cubicBezTo>
                    <a:pt x="669" y="504"/>
                    <a:pt x="669" y="504"/>
                    <a:pt x="669" y="504"/>
                  </a:cubicBezTo>
                  <a:cubicBezTo>
                    <a:pt x="646" y="504"/>
                    <a:pt x="646" y="504"/>
                    <a:pt x="646" y="504"/>
                  </a:cubicBezTo>
                  <a:cubicBezTo>
                    <a:pt x="646" y="291"/>
                    <a:pt x="646" y="291"/>
                    <a:pt x="646" y="291"/>
                  </a:cubicBezTo>
                  <a:cubicBezTo>
                    <a:pt x="669" y="291"/>
                    <a:pt x="669" y="291"/>
                    <a:pt x="669" y="291"/>
                  </a:cubicBezTo>
                  <a:cubicBezTo>
                    <a:pt x="669" y="426"/>
                    <a:pt x="669" y="426"/>
                    <a:pt x="669" y="426"/>
                  </a:cubicBezTo>
                  <a:cubicBezTo>
                    <a:pt x="670" y="426"/>
                    <a:pt x="670" y="426"/>
                    <a:pt x="670" y="426"/>
                  </a:cubicBezTo>
                  <a:cubicBezTo>
                    <a:pt x="730" y="360"/>
                    <a:pt x="730" y="360"/>
                    <a:pt x="730" y="360"/>
                  </a:cubicBezTo>
                  <a:cubicBezTo>
                    <a:pt x="761" y="360"/>
                    <a:pt x="761" y="360"/>
                    <a:pt x="761" y="360"/>
                  </a:cubicBezTo>
                  <a:cubicBezTo>
                    <a:pt x="694" y="430"/>
                    <a:pt x="694" y="430"/>
                    <a:pt x="694" y="430"/>
                  </a:cubicBezTo>
                  <a:lnTo>
                    <a:pt x="766" y="504"/>
                  </a:lnTo>
                  <a:close/>
                  <a:moveTo>
                    <a:pt x="113" y="741"/>
                  </a:moveTo>
                  <a:cubicBezTo>
                    <a:pt x="113" y="758"/>
                    <a:pt x="107" y="772"/>
                    <a:pt x="95" y="781"/>
                  </a:cubicBezTo>
                  <a:cubicBezTo>
                    <a:pt x="83" y="791"/>
                    <a:pt x="66" y="796"/>
                    <a:pt x="46" y="796"/>
                  </a:cubicBezTo>
                  <a:cubicBezTo>
                    <a:pt x="38" y="796"/>
                    <a:pt x="30" y="795"/>
                    <a:pt x="20" y="792"/>
                  </a:cubicBezTo>
                  <a:cubicBezTo>
                    <a:pt x="11" y="790"/>
                    <a:pt x="4" y="787"/>
                    <a:pt x="0" y="784"/>
                  </a:cubicBezTo>
                  <a:cubicBezTo>
                    <a:pt x="0" y="756"/>
                    <a:pt x="0" y="756"/>
                    <a:pt x="0" y="756"/>
                  </a:cubicBezTo>
                  <a:cubicBezTo>
                    <a:pt x="6" y="762"/>
                    <a:pt x="14" y="766"/>
                    <a:pt x="23" y="769"/>
                  </a:cubicBezTo>
                  <a:cubicBezTo>
                    <a:pt x="32" y="773"/>
                    <a:pt x="41" y="774"/>
                    <a:pt x="49" y="774"/>
                  </a:cubicBezTo>
                  <a:cubicBezTo>
                    <a:pt x="75" y="774"/>
                    <a:pt x="88" y="764"/>
                    <a:pt x="88" y="744"/>
                  </a:cubicBezTo>
                  <a:cubicBezTo>
                    <a:pt x="88" y="736"/>
                    <a:pt x="85" y="729"/>
                    <a:pt x="80" y="723"/>
                  </a:cubicBezTo>
                  <a:cubicBezTo>
                    <a:pt x="74" y="716"/>
                    <a:pt x="63" y="709"/>
                    <a:pt x="46" y="699"/>
                  </a:cubicBezTo>
                  <a:cubicBezTo>
                    <a:pt x="29" y="689"/>
                    <a:pt x="17" y="680"/>
                    <a:pt x="11" y="672"/>
                  </a:cubicBezTo>
                  <a:cubicBezTo>
                    <a:pt x="4" y="664"/>
                    <a:pt x="1" y="653"/>
                    <a:pt x="1" y="641"/>
                  </a:cubicBezTo>
                  <a:cubicBezTo>
                    <a:pt x="1" y="625"/>
                    <a:pt x="7" y="612"/>
                    <a:pt x="19" y="602"/>
                  </a:cubicBezTo>
                  <a:cubicBezTo>
                    <a:pt x="30" y="592"/>
                    <a:pt x="46" y="587"/>
                    <a:pt x="65" y="587"/>
                  </a:cubicBezTo>
                  <a:cubicBezTo>
                    <a:pt x="83" y="587"/>
                    <a:pt x="96" y="590"/>
                    <a:pt x="104" y="594"/>
                  </a:cubicBezTo>
                  <a:cubicBezTo>
                    <a:pt x="104" y="621"/>
                    <a:pt x="104" y="621"/>
                    <a:pt x="104" y="621"/>
                  </a:cubicBezTo>
                  <a:cubicBezTo>
                    <a:pt x="94" y="613"/>
                    <a:pt x="80" y="609"/>
                    <a:pt x="63" y="609"/>
                  </a:cubicBezTo>
                  <a:cubicBezTo>
                    <a:pt x="52" y="609"/>
                    <a:pt x="43" y="611"/>
                    <a:pt x="36" y="617"/>
                  </a:cubicBezTo>
                  <a:cubicBezTo>
                    <a:pt x="29" y="623"/>
                    <a:pt x="25" y="630"/>
                    <a:pt x="25" y="639"/>
                  </a:cubicBezTo>
                  <a:cubicBezTo>
                    <a:pt x="25" y="646"/>
                    <a:pt x="26" y="651"/>
                    <a:pt x="29" y="655"/>
                  </a:cubicBezTo>
                  <a:cubicBezTo>
                    <a:pt x="31" y="659"/>
                    <a:pt x="34" y="663"/>
                    <a:pt x="39" y="667"/>
                  </a:cubicBezTo>
                  <a:cubicBezTo>
                    <a:pt x="44" y="671"/>
                    <a:pt x="53" y="676"/>
                    <a:pt x="65" y="683"/>
                  </a:cubicBezTo>
                  <a:cubicBezTo>
                    <a:pt x="82" y="693"/>
                    <a:pt x="95" y="702"/>
                    <a:pt x="102" y="711"/>
                  </a:cubicBezTo>
                  <a:cubicBezTo>
                    <a:pt x="109" y="720"/>
                    <a:pt x="113" y="730"/>
                    <a:pt x="113" y="741"/>
                  </a:cubicBezTo>
                  <a:close/>
                  <a:moveTo>
                    <a:pt x="257" y="726"/>
                  </a:moveTo>
                  <a:cubicBezTo>
                    <a:pt x="155" y="726"/>
                    <a:pt x="155" y="726"/>
                    <a:pt x="155" y="726"/>
                  </a:cubicBezTo>
                  <a:cubicBezTo>
                    <a:pt x="155" y="742"/>
                    <a:pt x="160" y="755"/>
                    <a:pt x="168" y="763"/>
                  </a:cubicBezTo>
                  <a:cubicBezTo>
                    <a:pt x="176" y="772"/>
                    <a:pt x="187" y="776"/>
                    <a:pt x="202" y="776"/>
                  </a:cubicBezTo>
                  <a:cubicBezTo>
                    <a:pt x="218" y="776"/>
                    <a:pt x="233" y="771"/>
                    <a:pt x="247" y="760"/>
                  </a:cubicBezTo>
                  <a:cubicBezTo>
                    <a:pt x="247" y="782"/>
                    <a:pt x="247" y="782"/>
                    <a:pt x="247" y="782"/>
                  </a:cubicBezTo>
                  <a:cubicBezTo>
                    <a:pt x="234" y="791"/>
                    <a:pt x="217" y="796"/>
                    <a:pt x="196" y="796"/>
                  </a:cubicBezTo>
                  <a:cubicBezTo>
                    <a:pt x="176" y="796"/>
                    <a:pt x="160" y="789"/>
                    <a:pt x="148" y="776"/>
                  </a:cubicBezTo>
                  <a:cubicBezTo>
                    <a:pt x="137" y="763"/>
                    <a:pt x="131" y="744"/>
                    <a:pt x="131" y="721"/>
                  </a:cubicBezTo>
                  <a:cubicBezTo>
                    <a:pt x="131" y="707"/>
                    <a:pt x="134" y="694"/>
                    <a:pt x="140" y="682"/>
                  </a:cubicBezTo>
                  <a:cubicBezTo>
                    <a:pt x="146" y="670"/>
                    <a:pt x="153" y="661"/>
                    <a:pt x="164" y="655"/>
                  </a:cubicBezTo>
                  <a:cubicBezTo>
                    <a:pt x="174" y="648"/>
                    <a:pt x="185" y="645"/>
                    <a:pt x="197" y="645"/>
                  </a:cubicBezTo>
                  <a:cubicBezTo>
                    <a:pt x="216" y="645"/>
                    <a:pt x="231" y="651"/>
                    <a:pt x="241" y="663"/>
                  </a:cubicBezTo>
                  <a:cubicBezTo>
                    <a:pt x="251" y="675"/>
                    <a:pt x="257" y="692"/>
                    <a:pt x="257" y="714"/>
                  </a:cubicBezTo>
                  <a:lnTo>
                    <a:pt x="257" y="726"/>
                  </a:lnTo>
                  <a:close/>
                  <a:moveTo>
                    <a:pt x="233" y="707"/>
                  </a:moveTo>
                  <a:cubicBezTo>
                    <a:pt x="233" y="693"/>
                    <a:pt x="230" y="683"/>
                    <a:pt x="223" y="676"/>
                  </a:cubicBezTo>
                  <a:cubicBezTo>
                    <a:pt x="217" y="668"/>
                    <a:pt x="208" y="665"/>
                    <a:pt x="197" y="665"/>
                  </a:cubicBezTo>
                  <a:cubicBezTo>
                    <a:pt x="186" y="665"/>
                    <a:pt x="177" y="668"/>
                    <a:pt x="170" y="676"/>
                  </a:cubicBezTo>
                  <a:cubicBezTo>
                    <a:pt x="162" y="684"/>
                    <a:pt x="157" y="694"/>
                    <a:pt x="155" y="707"/>
                  </a:cubicBezTo>
                  <a:lnTo>
                    <a:pt x="233" y="707"/>
                  </a:lnTo>
                  <a:close/>
                  <a:moveTo>
                    <a:pt x="358" y="672"/>
                  </a:moveTo>
                  <a:cubicBezTo>
                    <a:pt x="354" y="669"/>
                    <a:pt x="348" y="667"/>
                    <a:pt x="340" y="667"/>
                  </a:cubicBezTo>
                  <a:cubicBezTo>
                    <a:pt x="330" y="667"/>
                    <a:pt x="322" y="672"/>
                    <a:pt x="315" y="681"/>
                  </a:cubicBezTo>
                  <a:cubicBezTo>
                    <a:pt x="309" y="691"/>
                    <a:pt x="306" y="704"/>
                    <a:pt x="306" y="719"/>
                  </a:cubicBezTo>
                  <a:cubicBezTo>
                    <a:pt x="306" y="792"/>
                    <a:pt x="306" y="792"/>
                    <a:pt x="306" y="792"/>
                  </a:cubicBezTo>
                  <a:cubicBezTo>
                    <a:pt x="283" y="792"/>
                    <a:pt x="283" y="792"/>
                    <a:pt x="283" y="792"/>
                  </a:cubicBezTo>
                  <a:cubicBezTo>
                    <a:pt x="283" y="648"/>
                    <a:pt x="283" y="648"/>
                    <a:pt x="283" y="648"/>
                  </a:cubicBezTo>
                  <a:cubicBezTo>
                    <a:pt x="306" y="648"/>
                    <a:pt x="306" y="648"/>
                    <a:pt x="306" y="648"/>
                  </a:cubicBezTo>
                  <a:cubicBezTo>
                    <a:pt x="306" y="678"/>
                    <a:pt x="306" y="678"/>
                    <a:pt x="306" y="678"/>
                  </a:cubicBezTo>
                  <a:cubicBezTo>
                    <a:pt x="306" y="678"/>
                    <a:pt x="306" y="678"/>
                    <a:pt x="306" y="678"/>
                  </a:cubicBezTo>
                  <a:cubicBezTo>
                    <a:pt x="309" y="668"/>
                    <a:pt x="314" y="660"/>
                    <a:pt x="321" y="654"/>
                  </a:cubicBezTo>
                  <a:cubicBezTo>
                    <a:pt x="328" y="649"/>
                    <a:pt x="335" y="646"/>
                    <a:pt x="344" y="646"/>
                  </a:cubicBezTo>
                  <a:cubicBezTo>
                    <a:pt x="350" y="646"/>
                    <a:pt x="355" y="646"/>
                    <a:pt x="358" y="648"/>
                  </a:cubicBezTo>
                  <a:lnTo>
                    <a:pt x="358" y="672"/>
                  </a:lnTo>
                  <a:close/>
                  <a:moveTo>
                    <a:pt x="500" y="648"/>
                  </a:moveTo>
                  <a:cubicBezTo>
                    <a:pt x="443" y="792"/>
                    <a:pt x="443" y="792"/>
                    <a:pt x="443" y="792"/>
                  </a:cubicBezTo>
                  <a:cubicBezTo>
                    <a:pt x="420" y="792"/>
                    <a:pt x="420" y="792"/>
                    <a:pt x="420" y="792"/>
                  </a:cubicBezTo>
                  <a:cubicBezTo>
                    <a:pt x="365" y="648"/>
                    <a:pt x="365" y="648"/>
                    <a:pt x="365" y="648"/>
                  </a:cubicBezTo>
                  <a:cubicBezTo>
                    <a:pt x="391" y="648"/>
                    <a:pt x="391" y="648"/>
                    <a:pt x="391" y="648"/>
                  </a:cubicBezTo>
                  <a:cubicBezTo>
                    <a:pt x="427" y="753"/>
                    <a:pt x="427" y="753"/>
                    <a:pt x="427" y="753"/>
                  </a:cubicBezTo>
                  <a:cubicBezTo>
                    <a:pt x="429" y="758"/>
                    <a:pt x="431" y="765"/>
                    <a:pt x="432" y="773"/>
                  </a:cubicBezTo>
                  <a:cubicBezTo>
                    <a:pt x="433" y="773"/>
                    <a:pt x="433" y="773"/>
                    <a:pt x="433" y="773"/>
                  </a:cubicBezTo>
                  <a:cubicBezTo>
                    <a:pt x="434" y="766"/>
                    <a:pt x="435" y="760"/>
                    <a:pt x="437" y="754"/>
                  </a:cubicBezTo>
                  <a:cubicBezTo>
                    <a:pt x="476" y="648"/>
                    <a:pt x="476" y="648"/>
                    <a:pt x="476" y="648"/>
                  </a:cubicBezTo>
                  <a:lnTo>
                    <a:pt x="500" y="648"/>
                  </a:lnTo>
                  <a:close/>
                  <a:moveTo>
                    <a:pt x="631" y="726"/>
                  </a:moveTo>
                  <a:cubicBezTo>
                    <a:pt x="530" y="726"/>
                    <a:pt x="530" y="726"/>
                    <a:pt x="530" y="726"/>
                  </a:cubicBezTo>
                  <a:cubicBezTo>
                    <a:pt x="530" y="742"/>
                    <a:pt x="534" y="755"/>
                    <a:pt x="543" y="763"/>
                  </a:cubicBezTo>
                  <a:cubicBezTo>
                    <a:pt x="551" y="772"/>
                    <a:pt x="562" y="776"/>
                    <a:pt x="577" y="776"/>
                  </a:cubicBezTo>
                  <a:cubicBezTo>
                    <a:pt x="593" y="776"/>
                    <a:pt x="608" y="771"/>
                    <a:pt x="621" y="760"/>
                  </a:cubicBezTo>
                  <a:cubicBezTo>
                    <a:pt x="621" y="782"/>
                    <a:pt x="621" y="782"/>
                    <a:pt x="621" y="782"/>
                  </a:cubicBezTo>
                  <a:cubicBezTo>
                    <a:pt x="609" y="791"/>
                    <a:pt x="592" y="796"/>
                    <a:pt x="571" y="796"/>
                  </a:cubicBezTo>
                  <a:cubicBezTo>
                    <a:pt x="551" y="796"/>
                    <a:pt x="535" y="789"/>
                    <a:pt x="523" y="776"/>
                  </a:cubicBezTo>
                  <a:cubicBezTo>
                    <a:pt x="512" y="763"/>
                    <a:pt x="506" y="744"/>
                    <a:pt x="506" y="721"/>
                  </a:cubicBezTo>
                  <a:cubicBezTo>
                    <a:pt x="506" y="707"/>
                    <a:pt x="509" y="694"/>
                    <a:pt x="515" y="682"/>
                  </a:cubicBezTo>
                  <a:cubicBezTo>
                    <a:pt x="520" y="670"/>
                    <a:pt x="528" y="661"/>
                    <a:pt x="538" y="655"/>
                  </a:cubicBezTo>
                  <a:cubicBezTo>
                    <a:pt x="548" y="648"/>
                    <a:pt x="560" y="645"/>
                    <a:pt x="572" y="645"/>
                  </a:cubicBezTo>
                  <a:cubicBezTo>
                    <a:pt x="591" y="645"/>
                    <a:pt x="605" y="651"/>
                    <a:pt x="616" y="663"/>
                  </a:cubicBezTo>
                  <a:cubicBezTo>
                    <a:pt x="626" y="675"/>
                    <a:pt x="631" y="692"/>
                    <a:pt x="631" y="714"/>
                  </a:cubicBezTo>
                  <a:lnTo>
                    <a:pt x="631" y="726"/>
                  </a:lnTo>
                  <a:close/>
                  <a:moveTo>
                    <a:pt x="608" y="707"/>
                  </a:moveTo>
                  <a:cubicBezTo>
                    <a:pt x="608" y="693"/>
                    <a:pt x="604" y="683"/>
                    <a:pt x="598" y="676"/>
                  </a:cubicBezTo>
                  <a:cubicBezTo>
                    <a:pt x="592" y="668"/>
                    <a:pt x="583" y="665"/>
                    <a:pt x="572" y="665"/>
                  </a:cubicBezTo>
                  <a:cubicBezTo>
                    <a:pt x="561" y="665"/>
                    <a:pt x="552" y="668"/>
                    <a:pt x="544" y="676"/>
                  </a:cubicBezTo>
                  <a:cubicBezTo>
                    <a:pt x="537" y="684"/>
                    <a:pt x="532" y="694"/>
                    <a:pt x="530" y="707"/>
                  </a:cubicBezTo>
                  <a:lnTo>
                    <a:pt x="608" y="707"/>
                  </a:lnTo>
                  <a:close/>
                  <a:moveTo>
                    <a:pt x="733" y="672"/>
                  </a:moveTo>
                  <a:cubicBezTo>
                    <a:pt x="728" y="669"/>
                    <a:pt x="723" y="667"/>
                    <a:pt x="715" y="667"/>
                  </a:cubicBezTo>
                  <a:cubicBezTo>
                    <a:pt x="705" y="667"/>
                    <a:pt x="696" y="672"/>
                    <a:pt x="690" y="681"/>
                  </a:cubicBezTo>
                  <a:cubicBezTo>
                    <a:pt x="684" y="691"/>
                    <a:pt x="681" y="704"/>
                    <a:pt x="681" y="719"/>
                  </a:cubicBezTo>
                  <a:cubicBezTo>
                    <a:pt x="681" y="792"/>
                    <a:pt x="681" y="792"/>
                    <a:pt x="681" y="792"/>
                  </a:cubicBezTo>
                  <a:cubicBezTo>
                    <a:pt x="657" y="792"/>
                    <a:pt x="657" y="792"/>
                    <a:pt x="657" y="792"/>
                  </a:cubicBezTo>
                  <a:cubicBezTo>
                    <a:pt x="657" y="648"/>
                    <a:pt x="657" y="648"/>
                    <a:pt x="657" y="648"/>
                  </a:cubicBezTo>
                  <a:cubicBezTo>
                    <a:pt x="681" y="648"/>
                    <a:pt x="681" y="648"/>
                    <a:pt x="681" y="648"/>
                  </a:cubicBezTo>
                  <a:cubicBezTo>
                    <a:pt x="681" y="678"/>
                    <a:pt x="681" y="678"/>
                    <a:pt x="681" y="678"/>
                  </a:cubicBezTo>
                  <a:cubicBezTo>
                    <a:pt x="681" y="678"/>
                    <a:pt x="681" y="678"/>
                    <a:pt x="681" y="678"/>
                  </a:cubicBezTo>
                  <a:cubicBezTo>
                    <a:pt x="684" y="668"/>
                    <a:pt x="689" y="660"/>
                    <a:pt x="696" y="654"/>
                  </a:cubicBezTo>
                  <a:cubicBezTo>
                    <a:pt x="702" y="649"/>
                    <a:pt x="710" y="646"/>
                    <a:pt x="719" y="646"/>
                  </a:cubicBezTo>
                  <a:cubicBezTo>
                    <a:pt x="725" y="646"/>
                    <a:pt x="729" y="646"/>
                    <a:pt x="733" y="648"/>
                  </a:cubicBezTo>
                  <a:lnTo>
                    <a:pt x="733" y="6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pic>
          <p:nvPicPr>
            <p:cNvPr id="225" name="Picture 224"/>
            <p:cNvPicPr>
              <a:picLocks noChangeAspect="1"/>
            </p:cNvPicPr>
            <p:nvPr/>
          </p:nvPicPr>
          <p:blipFill>
            <a:blip r:embed="rId12"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501313" y="5079163"/>
              <a:ext cx="420687" cy="420687"/>
            </a:xfrm>
            <a:prstGeom prst="rect">
              <a:avLst/>
            </a:prstGeom>
          </p:spPr>
        </p:pic>
        <p:grpSp>
          <p:nvGrpSpPr>
            <p:cNvPr id="301" name="Group 57"/>
            <p:cNvGrpSpPr>
              <a:grpSpLocks noChangeAspect="1"/>
            </p:cNvGrpSpPr>
            <p:nvPr/>
          </p:nvGrpSpPr>
          <p:grpSpPr bwMode="auto">
            <a:xfrm>
              <a:off x="9926638" y="3368675"/>
              <a:ext cx="777875" cy="800100"/>
              <a:chOff x="6253" y="2122"/>
              <a:chExt cx="490" cy="504"/>
            </a:xfrm>
          </p:grpSpPr>
          <p:sp>
            <p:nvSpPr>
              <p:cNvPr id="302" name="AutoShape 56"/>
              <p:cNvSpPr>
                <a:spLocks noChangeAspect="1" noChangeArrowheads="1" noTextEdit="1"/>
              </p:cNvSpPr>
              <p:nvPr/>
            </p:nvSpPr>
            <p:spPr bwMode="auto">
              <a:xfrm>
                <a:off x="6253" y="2122"/>
                <a:ext cx="488"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3" name="Freeform 58"/>
              <p:cNvSpPr>
                <a:spLocks/>
              </p:cNvSpPr>
              <p:nvPr/>
            </p:nvSpPr>
            <p:spPr bwMode="auto">
              <a:xfrm>
                <a:off x="6255" y="2122"/>
                <a:ext cx="488" cy="489"/>
              </a:xfrm>
              <a:custGeom>
                <a:avLst/>
                <a:gdLst>
                  <a:gd name="T0" fmla="*/ 178 w 306"/>
                  <a:gd name="T1" fmla="*/ 305 h 307"/>
                  <a:gd name="T2" fmla="*/ 173 w 306"/>
                  <a:gd name="T3" fmla="*/ 305 h 307"/>
                  <a:gd name="T4" fmla="*/ 1 w 306"/>
                  <a:gd name="T5" fmla="*/ 133 h 307"/>
                  <a:gd name="T6" fmla="*/ 1 w 306"/>
                  <a:gd name="T7" fmla="*/ 128 h 307"/>
                  <a:gd name="T8" fmla="*/ 128 w 306"/>
                  <a:gd name="T9" fmla="*/ 2 h 307"/>
                  <a:gd name="T10" fmla="*/ 133 w 306"/>
                  <a:gd name="T11" fmla="*/ 2 h 307"/>
                  <a:gd name="T12" fmla="*/ 305 w 306"/>
                  <a:gd name="T13" fmla="*/ 174 h 307"/>
                  <a:gd name="T14" fmla="*/ 305 w 306"/>
                  <a:gd name="T15" fmla="*/ 179 h 307"/>
                  <a:gd name="T16" fmla="*/ 178 w 306"/>
                  <a:gd name="T17" fmla="*/ 30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7">
                    <a:moveTo>
                      <a:pt x="178" y="305"/>
                    </a:moveTo>
                    <a:cubicBezTo>
                      <a:pt x="177" y="307"/>
                      <a:pt x="175" y="307"/>
                      <a:pt x="173" y="305"/>
                    </a:cubicBezTo>
                    <a:cubicBezTo>
                      <a:pt x="1" y="133"/>
                      <a:pt x="1" y="133"/>
                      <a:pt x="1" y="133"/>
                    </a:cubicBezTo>
                    <a:cubicBezTo>
                      <a:pt x="0" y="132"/>
                      <a:pt x="0" y="130"/>
                      <a:pt x="1" y="128"/>
                    </a:cubicBezTo>
                    <a:cubicBezTo>
                      <a:pt x="128" y="2"/>
                      <a:pt x="128" y="2"/>
                      <a:pt x="128" y="2"/>
                    </a:cubicBezTo>
                    <a:cubicBezTo>
                      <a:pt x="129" y="0"/>
                      <a:pt x="131" y="0"/>
                      <a:pt x="133" y="2"/>
                    </a:cubicBezTo>
                    <a:cubicBezTo>
                      <a:pt x="305" y="174"/>
                      <a:pt x="305" y="174"/>
                      <a:pt x="305" y="174"/>
                    </a:cubicBezTo>
                    <a:cubicBezTo>
                      <a:pt x="306" y="175"/>
                      <a:pt x="306" y="177"/>
                      <a:pt x="305" y="179"/>
                    </a:cubicBezTo>
                    <a:lnTo>
                      <a:pt x="178" y="3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4" name="Freeform 59"/>
              <p:cNvSpPr>
                <a:spLocks/>
              </p:cNvSpPr>
              <p:nvPr/>
            </p:nvSpPr>
            <p:spPr bwMode="auto">
              <a:xfrm>
                <a:off x="6298" y="2165"/>
                <a:ext cx="403" cy="402"/>
              </a:xfrm>
              <a:custGeom>
                <a:avLst/>
                <a:gdLst>
                  <a:gd name="T0" fmla="*/ 151 w 253"/>
                  <a:gd name="T1" fmla="*/ 251 h 252"/>
                  <a:gd name="T2" fmla="*/ 147 w 253"/>
                  <a:gd name="T3" fmla="*/ 251 h 252"/>
                  <a:gd name="T4" fmla="*/ 2 w 253"/>
                  <a:gd name="T5" fmla="*/ 105 h 252"/>
                  <a:gd name="T6" fmla="*/ 2 w 253"/>
                  <a:gd name="T7" fmla="*/ 101 h 252"/>
                  <a:gd name="T8" fmla="*/ 102 w 253"/>
                  <a:gd name="T9" fmla="*/ 1 h 252"/>
                  <a:gd name="T10" fmla="*/ 106 w 253"/>
                  <a:gd name="T11" fmla="*/ 1 h 252"/>
                  <a:gd name="T12" fmla="*/ 251 w 253"/>
                  <a:gd name="T13" fmla="*/ 147 h 252"/>
                  <a:gd name="T14" fmla="*/ 251 w 253"/>
                  <a:gd name="T15" fmla="*/ 151 h 252"/>
                  <a:gd name="T16" fmla="*/ 151 w 253"/>
                  <a:gd name="T17" fmla="*/ 2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2">
                    <a:moveTo>
                      <a:pt x="151" y="251"/>
                    </a:moveTo>
                    <a:cubicBezTo>
                      <a:pt x="150" y="252"/>
                      <a:pt x="148" y="252"/>
                      <a:pt x="147" y="251"/>
                    </a:cubicBezTo>
                    <a:cubicBezTo>
                      <a:pt x="2" y="105"/>
                      <a:pt x="2" y="105"/>
                      <a:pt x="2" y="105"/>
                    </a:cubicBezTo>
                    <a:cubicBezTo>
                      <a:pt x="0" y="104"/>
                      <a:pt x="0" y="102"/>
                      <a:pt x="2" y="101"/>
                    </a:cubicBezTo>
                    <a:cubicBezTo>
                      <a:pt x="102" y="1"/>
                      <a:pt x="102" y="1"/>
                      <a:pt x="102" y="1"/>
                    </a:cubicBezTo>
                    <a:cubicBezTo>
                      <a:pt x="103" y="0"/>
                      <a:pt x="105" y="0"/>
                      <a:pt x="106" y="1"/>
                    </a:cubicBezTo>
                    <a:cubicBezTo>
                      <a:pt x="251" y="147"/>
                      <a:pt x="251" y="147"/>
                      <a:pt x="251" y="147"/>
                    </a:cubicBezTo>
                    <a:cubicBezTo>
                      <a:pt x="253" y="148"/>
                      <a:pt x="253" y="150"/>
                      <a:pt x="251" y="151"/>
                    </a:cubicBezTo>
                    <a:lnTo>
                      <a:pt x="151" y="251"/>
                    </a:lnTo>
                    <a:close/>
                  </a:path>
                </a:pathLst>
              </a:custGeom>
              <a:gradFill flip="none" rotWithShape="1">
                <a:gsLst>
                  <a:gs pos="50000">
                    <a:srgbClr val="5EB6DA"/>
                  </a:gs>
                  <a:gs pos="50000">
                    <a:srgbClr val="3999C6"/>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5" name="Freeform 60"/>
              <p:cNvSpPr>
                <a:spLocks/>
              </p:cNvSpPr>
              <p:nvPr/>
            </p:nvSpPr>
            <p:spPr bwMode="auto">
              <a:xfrm>
                <a:off x="6591" y="2269"/>
                <a:ext cx="7" cy="6"/>
              </a:xfrm>
              <a:custGeom>
                <a:avLst/>
                <a:gdLst>
                  <a:gd name="T0" fmla="*/ 3 w 4"/>
                  <a:gd name="T1" fmla="*/ 3 h 4"/>
                  <a:gd name="T2" fmla="*/ 0 w 4"/>
                  <a:gd name="T3" fmla="*/ 3 h 4"/>
                  <a:gd name="T4" fmla="*/ 1 w 4"/>
                  <a:gd name="T5" fmla="*/ 0 h 4"/>
                  <a:gd name="T6" fmla="*/ 3 w 4"/>
                  <a:gd name="T7" fmla="*/ 0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4"/>
                      <a:pt x="1" y="4"/>
                      <a:pt x="0" y="3"/>
                    </a:cubicBezTo>
                    <a:cubicBezTo>
                      <a:pt x="0" y="2"/>
                      <a:pt x="0" y="1"/>
                      <a:pt x="1" y="0"/>
                    </a:cubicBezTo>
                    <a:cubicBezTo>
                      <a:pt x="1" y="0"/>
                      <a:pt x="2" y="0"/>
                      <a:pt x="3" y="0"/>
                    </a:cubicBezTo>
                    <a:cubicBezTo>
                      <a:pt x="4" y="1"/>
                      <a:pt x="4" y="2"/>
                      <a:pt x="3" y="3"/>
                    </a:cubicBezTo>
                    <a:close/>
                  </a:path>
                </a:pathLst>
              </a:custGeom>
              <a:solidFill>
                <a:srgbClr val="DFD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6" name="Rectangle 61"/>
              <p:cNvSpPr>
                <a:spLocks noChangeArrowheads="1"/>
              </p:cNvSpPr>
              <p:nvPr/>
            </p:nvSpPr>
            <p:spPr bwMode="auto">
              <a:xfrm>
                <a:off x="6610" y="2584"/>
                <a:ext cx="16" cy="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7" name="Rectangle 62"/>
              <p:cNvSpPr>
                <a:spLocks noChangeArrowheads="1"/>
              </p:cNvSpPr>
              <p:nvPr/>
            </p:nvSpPr>
            <p:spPr bwMode="auto">
              <a:xfrm>
                <a:off x="6610" y="2444"/>
                <a:ext cx="16" cy="14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8" name="Freeform 63"/>
              <p:cNvSpPr>
                <a:spLocks/>
              </p:cNvSpPr>
              <p:nvPr/>
            </p:nvSpPr>
            <p:spPr bwMode="auto">
              <a:xfrm>
                <a:off x="6610" y="2621"/>
                <a:ext cx="16" cy="5"/>
              </a:xfrm>
              <a:custGeom>
                <a:avLst/>
                <a:gdLst>
                  <a:gd name="T0" fmla="*/ 10 w 10"/>
                  <a:gd name="T1" fmla="*/ 1 h 3"/>
                  <a:gd name="T2" fmla="*/ 10 w 10"/>
                  <a:gd name="T3" fmla="*/ 0 h 3"/>
                  <a:gd name="T4" fmla="*/ 0 w 10"/>
                  <a:gd name="T5" fmla="*/ 0 h 3"/>
                  <a:gd name="T6" fmla="*/ 0 w 10"/>
                  <a:gd name="T7" fmla="*/ 1 h 3"/>
                  <a:gd name="T8" fmla="*/ 2 w 10"/>
                  <a:gd name="T9" fmla="*/ 3 h 3"/>
                  <a:gd name="T10" fmla="*/ 8 w 10"/>
                  <a:gd name="T11" fmla="*/ 3 h 3"/>
                  <a:gd name="T12" fmla="*/ 10 w 10"/>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0" h="3">
                    <a:moveTo>
                      <a:pt x="10" y="1"/>
                    </a:moveTo>
                    <a:cubicBezTo>
                      <a:pt x="10" y="0"/>
                      <a:pt x="10" y="0"/>
                      <a:pt x="10" y="0"/>
                    </a:cubicBezTo>
                    <a:cubicBezTo>
                      <a:pt x="0" y="0"/>
                      <a:pt x="0" y="0"/>
                      <a:pt x="0" y="0"/>
                    </a:cubicBezTo>
                    <a:cubicBezTo>
                      <a:pt x="0" y="1"/>
                      <a:pt x="0" y="1"/>
                      <a:pt x="0" y="1"/>
                    </a:cubicBezTo>
                    <a:cubicBezTo>
                      <a:pt x="0" y="2"/>
                      <a:pt x="1" y="3"/>
                      <a:pt x="2" y="3"/>
                    </a:cubicBezTo>
                    <a:cubicBezTo>
                      <a:pt x="8" y="3"/>
                      <a:pt x="8" y="3"/>
                      <a:pt x="8" y="3"/>
                    </a:cubicBezTo>
                    <a:cubicBezTo>
                      <a:pt x="9" y="3"/>
                      <a:pt x="10" y="2"/>
                      <a:pt x="10" y="1"/>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09" name="Freeform 64"/>
              <p:cNvSpPr>
                <a:spLocks/>
              </p:cNvSpPr>
              <p:nvPr/>
            </p:nvSpPr>
            <p:spPr bwMode="auto">
              <a:xfrm>
                <a:off x="6615" y="2401"/>
                <a:ext cx="7" cy="9"/>
              </a:xfrm>
              <a:custGeom>
                <a:avLst/>
                <a:gdLst>
                  <a:gd name="T0" fmla="*/ 0 w 4"/>
                  <a:gd name="T1" fmla="*/ 2 h 6"/>
                  <a:gd name="T2" fmla="*/ 0 w 4"/>
                  <a:gd name="T3" fmla="*/ 6 h 6"/>
                  <a:gd name="T4" fmla="*/ 4 w 4"/>
                  <a:gd name="T5" fmla="*/ 6 h 6"/>
                  <a:gd name="T6" fmla="*/ 4 w 4"/>
                  <a:gd name="T7" fmla="*/ 2 h 6"/>
                  <a:gd name="T8" fmla="*/ 2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cubicBezTo>
                      <a:pt x="0" y="6"/>
                      <a:pt x="0" y="6"/>
                      <a:pt x="0" y="6"/>
                    </a:cubicBezTo>
                    <a:cubicBezTo>
                      <a:pt x="4" y="6"/>
                      <a:pt x="4" y="6"/>
                      <a:pt x="4" y="6"/>
                    </a:cubicBezTo>
                    <a:cubicBezTo>
                      <a:pt x="4" y="2"/>
                      <a:pt x="4" y="2"/>
                      <a:pt x="4" y="2"/>
                    </a:cubicBezTo>
                    <a:cubicBezTo>
                      <a:pt x="4" y="1"/>
                      <a:pt x="3" y="0"/>
                      <a:pt x="2" y="0"/>
                    </a:cubicBezTo>
                    <a:cubicBezTo>
                      <a:pt x="2" y="0"/>
                      <a:pt x="2" y="0"/>
                      <a:pt x="2" y="0"/>
                    </a:cubicBezTo>
                    <a:cubicBezTo>
                      <a:pt x="1" y="0"/>
                      <a:pt x="0" y="1"/>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0" name="Freeform 65"/>
              <p:cNvSpPr>
                <a:spLocks/>
              </p:cNvSpPr>
              <p:nvPr/>
            </p:nvSpPr>
            <p:spPr bwMode="auto">
              <a:xfrm>
                <a:off x="6610" y="2410"/>
                <a:ext cx="16" cy="34"/>
              </a:xfrm>
              <a:custGeom>
                <a:avLst/>
                <a:gdLst>
                  <a:gd name="T0" fmla="*/ 10 w 10"/>
                  <a:gd name="T1" fmla="*/ 10 h 21"/>
                  <a:gd name="T2" fmla="*/ 7 w 10"/>
                  <a:gd name="T3" fmla="*/ 0 h 21"/>
                  <a:gd name="T4" fmla="*/ 3 w 10"/>
                  <a:gd name="T5" fmla="*/ 0 h 21"/>
                  <a:gd name="T6" fmla="*/ 0 w 10"/>
                  <a:gd name="T7" fmla="*/ 10 h 21"/>
                  <a:gd name="T8" fmla="*/ 0 w 10"/>
                  <a:gd name="T9" fmla="*/ 21 h 21"/>
                  <a:gd name="T10" fmla="*/ 4 w 10"/>
                  <a:gd name="T11" fmla="*/ 21 h 21"/>
                  <a:gd name="T12" fmla="*/ 5 w 10"/>
                  <a:gd name="T13" fmla="*/ 21 h 21"/>
                  <a:gd name="T14" fmla="*/ 10 w 10"/>
                  <a:gd name="T15" fmla="*/ 21 h 21"/>
                  <a:gd name="T16" fmla="*/ 10 w 10"/>
                  <a:gd name="T1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10" y="10"/>
                    </a:moveTo>
                    <a:cubicBezTo>
                      <a:pt x="10" y="7"/>
                      <a:pt x="9" y="1"/>
                      <a:pt x="7" y="0"/>
                    </a:cubicBezTo>
                    <a:cubicBezTo>
                      <a:pt x="3" y="0"/>
                      <a:pt x="3" y="0"/>
                      <a:pt x="3" y="0"/>
                    </a:cubicBezTo>
                    <a:cubicBezTo>
                      <a:pt x="1" y="1"/>
                      <a:pt x="0" y="7"/>
                      <a:pt x="0" y="10"/>
                    </a:cubicBezTo>
                    <a:cubicBezTo>
                      <a:pt x="0" y="21"/>
                      <a:pt x="0" y="21"/>
                      <a:pt x="0" y="21"/>
                    </a:cubicBezTo>
                    <a:cubicBezTo>
                      <a:pt x="4" y="21"/>
                      <a:pt x="4" y="21"/>
                      <a:pt x="4" y="21"/>
                    </a:cubicBezTo>
                    <a:cubicBezTo>
                      <a:pt x="5" y="21"/>
                      <a:pt x="5" y="21"/>
                      <a:pt x="5" y="21"/>
                    </a:cubicBezTo>
                    <a:cubicBezTo>
                      <a:pt x="10" y="21"/>
                      <a:pt x="10" y="21"/>
                      <a:pt x="10" y="21"/>
                    </a:cubicBezTo>
                    <a:lnTo>
                      <a:pt x="10"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1" name="Freeform 66"/>
              <p:cNvSpPr>
                <a:spLocks/>
              </p:cNvSpPr>
              <p:nvPr/>
            </p:nvSpPr>
            <p:spPr bwMode="auto">
              <a:xfrm>
                <a:off x="6615" y="2602"/>
                <a:ext cx="7" cy="19"/>
              </a:xfrm>
              <a:custGeom>
                <a:avLst/>
                <a:gdLst>
                  <a:gd name="T0" fmla="*/ 1 w 4"/>
                  <a:gd name="T1" fmla="*/ 12 h 12"/>
                  <a:gd name="T2" fmla="*/ 0 w 4"/>
                  <a:gd name="T3" fmla="*/ 11 h 12"/>
                  <a:gd name="T4" fmla="*/ 0 w 4"/>
                  <a:gd name="T5" fmla="*/ 1 h 12"/>
                  <a:gd name="T6" fmla="*/ 1 w 4"/>
                  <a:gd name="T7" fmla="*/ 0 h 12"/>
                  <a:gd name="T8" fmla="*/ 2 w 4"/>
                  <a:gd name="T9" fmla="*/ 0 h 12"/>
                  <a:gd name="T10" fmla="*/ 4 w 4"/>
                  <a:gd name="T11" fmla="*/ 1 h 12"/>
                  <a:gd name="T12" fmla="*/ 4 w 4"/>
                  <a:gd name="T13" fmla="*/ 11 h 12"/>
                  <a:gd name="T14" fmla="*/ 2 w 4"/>
                  <a:gd name="T15" fmla="*/ 12 h 12"/>
                  <a:gd name="T16" fmla="*/ 1 w 4"/>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2">
                    <a:moveTo>
                      <a:pt x="1" y="12"/>
                    </a:moveTo>
                    <a:cubicBezTo>
                      <a:pt x="0" y="12"/>
                      <a:pt x="0" y="12"/>
                      <a:pt x="0" y="11"/>
                    </a:cubicBezTo>
                    <a:cubicBezTo>
                      <a:pt x="0" y="1"/>
                      <a:pt x="0" y="1"/>
                      <a:pt x="0" y="1"/>
                    </a:cubicBezTo>
                    <a:cubicBezTo>
                      <a:pt x="0" y="0"/>
                      <a:pt x="0" y="0"/>
                      <a:pt x="1" y="0"/>
                    </a:cubicBezTo>
                    <a:cubicBezTo>
                      <a:pt x="2" y="0"/>
                      <a:pt x="2" y="0"/>
                      <a:pt x="2" y="0"/>
                    </a:cubicBezTo>
                    <a:cubicBezTo>
                      <a:pt x="3" y="0"/>
                      <a:pt x="4" y="0"/>
                      <a:pt x="4" y="1"/>
                    </a:cubicBezTo>
                    <a:cubicBezTo>
                      <a:pt x="4" y="11"/>
                      <a:pt x="4" y="11"/>
                      <a:pt x="4" y="11"/>
                    </a:cubicBezTo>
                    <a:cubicBezTo>
                      <a:pt x="4" y="12"/>
                      <a:pt x="3" y="12"/>
                      <a:pt x="2" y="12"/>
                    </a:cubicBezTo>
                    <a:lnTo>
                      <a:pt x="1" y="1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nvGrpSpPr>
            <p:cNvPr id="312" name="Group 69"/>
            <p:cNvGrpSpPr>
              <a:grpSpLocks noChangeAspect="1"/>
            </p:cNvGrpSpPr>
            <p:nvPr/>
          </p:nvGrpSpPr>
          <p:grpSpPr bwMode="auto">
            <a:xfrm>
              <a:off x="11045825" y="3357563"/>
              <a:ext cx="385763" cy="696912"/>
              <a:chOff x="6958" y="2115"/>
              <a:chExt cx="243" cy="439"/>
            </a:xfrm>
          </p:grpSpPr>
          <p:sp>
            <p:nvSpPr>
              <p:cNvPr id="313" name="AutoShape 68"/>
              <p:cNvSpPr>
                <a:spLocks noChangeAspect="1" noChangeArrowheads="1" noTextEdit="1"/>
              </p:cNvSpPr>
              <p:nvPr/>
            </p:nvSpPr>
            <p:spPr bwMode="auto">
              <a:xfrm>
                <a:off x="6958" y="2115"/>
                <a:ext cx="24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4" name="Freeform 70"/>
              <p:cNvSpPr>
                <a:spLocks/>
              </p:cNvSpPr>
              <p:nvPr/>
            </p:nvSpPr>
            <p:spPr bwMode="auto">
              <a:xfrm>
                <a:off x="6960" y="2117"/>
                <a:ext cx="243" cy="435"/>
              </a:xfrm>
              <a:custGeom>
                <a:avLst/>
                <a:gdLst>
                  <a:gd name="T0" fmla="*/ 108 w 108"/>
                  <a:gd name="T1" fmla="*/ 188 h 196"/>
                  <a:gd name="T2" fmla="*/ 100 w 108"/>
                  <a:gd name="T3" fmla="*/ 196 h 196"/>
                  <a:gd name="T4" fmla="*/ 9 w 108"/>
                  <a:gd name="T5" fmla="*/ 196 h 196"/>
                  <a:gd name="T6" fmla="*/ 0 w 108"/>
                  <a:gd name="T7" fmla="*/ 188 h 196"/>
                  <a:gd name="T8" fmla="*/ 0 w 108"/>
                  <a:gd name="T9" fmla="*/ 9 h 196"/>
                  <a:gd name="T10" fmla="*/ 9 w 108"/>
                  <a:gd name="T11" fmla="*/ 0 h 196"/>
                  <a:gd name="T12" fmla="*/ 100 w 108"/>
                  <a:gd name="T13" fmla="*/ 0 h 196"/>
                  <a:gd name="T14" fmla="*/ 108 w 108"/>
                  <a:gd name="T15" fmla="*/ 9 h 196"/>
                  <a:gd name="T16" fmla="*/ 108 w 108"/>
                  <a:gd name="T1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96">
                    <a:moveTo>
                      <a:pt x="108" y="188"/>
                    </a:moveTo>
                    <a:cubicBezTo>
                      <a:pt x="108" y="193"/>
                      <a:pt x="104" y="196"/>
                      <a:pt x="100" y="196"/>
                    </a:cubicBezTo>
                    <a:cubicBezTo>
                      <a:pt x="9" y="196"/>
                      <a:pt x="9" y="196"/>
                      <a:pt x="9" y="196"/>
                    </a:cubicBezTo>
                    <a:cubicBezTo>
                      <a:pt x="4" y="196"/>
                      <a:pt x="0" y="193"/>
                      <a:pt x="0" y="188"/>
                    </a:cubicBezTo>
                    <a:cubicBezTo>
                      <a:pt x="0" y="9"/>
                      <a:pt x="0" y="9"/>
                      <a:pt x="0" y="9"/>
                    </a:cubicBezTo>
                    <a:cubicBezTo>
                      <a:pt x="0" y="4"/>
                      <a:pt x="4" y="0"/>
                      <a:pt x="9" y="0"/>
                    </a:cubicBezTo>
                    <a:cubicBezTo>
                      <a:pt x="100" y="0"/>
                      <a:pt x="100" y="0"/>
                      <a:pt x="100" y="0"/>
                    </a:cubicBezTo>
                    <a:cubicBezTo>
                      <a:pt x="104" y="0"/>
                      <a:pt x="108" y="4"/>
                      <a:pt x="108" y="9"/>
                    </a:cubicBezTo>
                    <a:lnTo>
                      <a:pt x="108" y="188"/>
                    </a:lnTo>
                    <a:close/>
                  </a:path>
                </a:pathLst>
              </a:custGeom>
              <a:gradFill flip="none" rotWithShape="1">
                <a:gsLst>
                  <a:gs pos="50000">
                    <a:srgbClr val="5EB6DA"/>
                  </a:gs>
                  <a:gs pos="50000">
                    <a:srgbClr val="3999C6"/>
                  </a:gs>
                </a:gsLst>
                <a:lin ang="81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5" name="Rectangle 71"/>
              <p:cNvSpPr>
                <a:spLocks noChangeArrowheads="1"/>
              </p:cNvSpPr>
              <p:nvPr/>
            </p:nvSpPr>
            <p:spPr bwMode="auto">
              <a:xfrm>
                <a:off x="6974" y="2179"/>
                <a:ext cx="216" cy="31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6" name="Freeform 72"/>
              <p:cNvSpPr>
                <a:spLocks/>
              </p:cNvSpPr>
              <p:nvPr/>
            </p:nvSpPr>
            <p:spPr bwMode="auto">
              <a:xfrm>
                <a:off x="7014" y="2142"/>
                <a:ext cx="135" cy="6"/>
              </a:xfrm>
              <a:custGeom>
                <a:avLst/>
                <a:gdLst>
                  <a:gd name="T0" fmla="*/ 60 w 60"/>
                  <a:gd name="T1" fmla="*/ 2 h 3"/>
                  <a:gd name="T2" fmla="*/ 58 w 60"/>
                  <a:gd name="T3" fmla="*/ 3 h 3"/>
                  <a:gd name="T4" fmla="*/ 2 w 60"/>
                  <a:gd name="T5" fmla="*/ 3 h 3"/>
                  <a:gd name="T6" fmla="*/ 0 w 60"/>
                  <a:gd name="T7" fmla="*/ 2 h 3"/>
                  <a:gd name="T8" fmla="*/ 0 w 60"/>
                  <a:gd name="T9" fmla="*/ 2 h 3"/>
                  <a:gd name="T10" fmla="*/ 2 w 60"/>
                  <a:gd name="T11" fmla="*/ 0 h 3"/>
                  <a:gd name="T12" fmla="*/ 58 w 60"/>
                  <a:gd name="T13" fmla="*/ 0 h 3"/>
                  <a:gd name="T14" fmla="*/ 60 w 60"/>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
                    <a:moveTo>
                      <a:pt x="60" y="2"/>
                    </a:moveTo>
                    <a:cubicBezTo>
                      <a:pt x="60" y="3"/>
                      <a:pt x="59" y="3"/>
                      <a:pt x="58" y="3"/>
                    </a:cubicBezTo>
                    <a:cubicBezTo>
                      <a:pt x="2" y="3"/>
                      <a:pt x="2" y="3"/>
                      <a:pt x="2" y="3"/>
                    </a:cubicBezTo>
                    <a:cubicBezTo>
                      <a:pt x="1" y="3"/>
                      <a:pt x="0" y="3"/>
                      <a:pt x="0" y="2"/>
                    </a:cubicBezTo>
                    <a:cubicBezTo>
                      <a:pt x="0" y="2"/>
                      <a:pt x="0" y="2"/>
                      <a:pt x="0" y="2"/>
                    </a:cubicBezTo>
                    <a:cubicBezTo>
                      <a:pt x="0" y="1"/>
                      <a:pt x="1" y="0"/>
                      <a:pt x="2" y="0"/>
                    </a:cubicBezTo>
                    <a:cubicBezTo>
                      <a:pt x="58" y="0"/>
                      <a:pt x="58" y="0"/>
                      <a:pt x="58" y="0"/>
                    </a:cubicBezTo>
                    <a:cubicBezTo>
                      <a:pt x="59" y="0"/>
                      <a:pt x="60" y="1"/>
                      <a:pt x="60"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7" name="Freeform 73"/>
              <p:cNvSpPr>
                <a:spLocks/>
              </p:cNvSpPr>
              <p:nvPr/>
            </p:nvSpPr>
            <p:spPr bwMode="auto">
              <a:xfrm>
                <a:off x="6974"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9" y="6"/>
                      <a:pt x="8" y="6"/>
                    </a:cubicBezTo>
                    <a:cubicBezTo>
                      <a:pt x="3" y="6"/>
                      <a:pt x="3" y="6"/>
                      <a:pt x="3" y="6"/>
                    </a:cubicBezTo>
                    <a:cubicBezTo>
                      <a:pt x="1" y="6"/>
                      <a:pt x="0" y="5"/>
                      <a:pt x="0" y="3"/>
                    </a:cubicBezTo>
                    <a:cubicBezTo>
                      <a:pt x="0" y="3"/>
                      <a:pt x="0" y="3"/>
                      <a:pt x="0" y="3"/>
                    </a:cubicBezTo>
                    <a:cubicBezTo>
                      <a:pt x="0" y="2"/>
                      <a:pt x="1" y="0"/>
                      <a:pt x="3" y="0"/>
                    </a:cubicBezTo>
                    <a:cubicBezTo>
                      <a:pt x="8" y="0"/>
                      <a:pt x="8" y="0"/>
                      <a:pt x="8" y="0"/>
                    </a:cubicBezTo>
                    <a:cubicBezTo>
                      <a:pt x="9"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8" name="Freeform 74"/>
              <p:cNvSpPr>
                <a:spLocks/>
              </p:cNvSpPr>
              <p:nvPr/>
            </p:nvSpPr>
            <p:spPr bwMode="auto">
              <a:xfrm>
                <a:off x="7165" y="2514"/>
                <a:ext cx="25" cy="13"/>
              </a:xfrm>
              <a:custGeom>
                <a:avLst/>
                <a:gdLst>
                  <a:gd name="T0" fmla="*/ 11 w 11"/>
                  <a:gd name="T1" fmla="*/ 3 h 6"/>
                  <a:gd name="T2" fmla="*/ 8 w 11"/>
                  <a:gd name="T3" fmla="*/ 6 h 6"/>
                  <a:gd name="T4" fmla="*/ 3 w 11"/>
                  <a:gd name="T5" fmla="*/ 6 h 6"/>
                  <a:gd name="T6" fmla="*/ 0 w 11"/>
                  <a:gd name="T7" fmla="*/ 3 h 6"/>
                  <a:gd name="T8" fmla="*/ 0 w 11"/>
                  <a:gd name="T9" fmla="*/ 3 h 6"/>
                  <a:gd name="T10" fmla="*/ 3 w 11"/>
                  <a:gd name="T11" fmla="*/ 0 h 6"/>
                  <a:gd name="T12" fmla="*/ 8 w 11"/>
                  <a:gd name="T13" fmla="*/ 0 h 6"/>
                  <a:gd name="T14" fmla="*/ 11 w 1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11" y="3"/>
                    </a:moveTo>
                    <a:cubicBezTo>
                      <a:pt x="11" y="5"/>
                      <a:pt x="10" y="6"/>
                      <a:pt x="8" y="6"/>
                    </a:cubicBezTo>
                    <a:cubicBezTo>
                      <a:pt x="3" y="6"/>
                      <a:pt x="3" y="6"/>
                      <a:pt x="3" y="6"/>
                    </a:cubicBezTo>
                    <a:cubicBezTo>
                      <a:pt x="2" y="6"/>
                      <a:pt x="0" y="5"/>
                      <a:pt x="0" y="3"/>
                    </a:cubicBezTo>
                    <a:cubicBezTo>
                      <a:pt x="0" y="3"/>
                      <a:pt x="0" y="3"/>
                      <a:pt x="0" y="3"/>
                    </a:cubicBezTo>
                    <a:cubicBezTo>
                      <a:pt x="0" y="2"/>
                      <a:pt x="2" y="0"/>
                      <a:pt x="3" y="0"/>
                    </a:cubicBezTo>
                    <a:cubicBezTo>
                      <a:pt x="8" y="0"/>
                      <a:pt x="8" y="0"/>
                      <a:pt x="8" y="0"/>
                    </a:cubicBezTo>
                    <a:cubicBezTo>
                      <a:pt x="10" y="0"/>
                      <a:pt x="11" y="2"/>
                      <a:pt x="11"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19" name="Freeform 75"/>
              <p:cNvSpPr>
                <a:spLocks/>
              </p:cNvSpPr>
              <p:nvPr/>
            </p:nvSpPr>
            <p:spPr bwMode="auto">
              <a:xfrm>
                <a:off x="7057" y="2507"/>
                <a:ext cx="52" cy="29"/>
              </a:xfrm>
              <a:custGeom>
                <a:avLst/>
                <a:gdLst>
                  <a:gd name="T0" fmla="*/ 23 w 23"/>
                  <a:gd name="T1" fmla="*/ 6 h 13"/>
                  <a:gd name="T2" fmla="*/ 17 w 23"/>
                  <a:gd name="T3" fmla="*/ 13 h 13"/>
                  <a:gd name="T4" fmla="*/ 6 w 23"/>
                  <a:gd name="T5" fmla="*/ 13 h 13"/>
                  <a:gd name="T6" fmla="*/ 0 w 23"/>
                  <a:gd name="T7" fmla="*/ 6 h 13"/>
                  <a:gd name="T8" fmla="*/ 0 w 23"/>
                  <a:gd name="T9" fmla="*/ 6 h 13"/>
                  <a:gd name="T10" fmla="*/ 6 w 23"/>
                  <a:gd name="T11" fmla="*/ 0 h 13"/>
                  <a:gd name="T12" fmla="*/ 17 w 23"/>
                  <a:gd name="T13" fmla="*/ 0 h 13"/>
                  <a:gd name="T14" fmla="*/ 23 w 23"/>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3">
                    <a:moveTo>
                      <a:pt x="23" y="6"/>
                    </a:moveTo>
                    <a:cubicBezTo>
                      <a:pt x="23" y="10"/>
                      <a:pt x="20" y="13"/>
                      <a:pt x="17" y="13"/>
                    </a:cubicBezTo>
                    <a:cubicBezTo>
                      <a:pt x="6" y="13"/>
                      <a:pt x="6" y="13"/>
                      <a:pt x="6" y="13"/>
                    </a:cubicBezTo>
                    <a:cubicBezTo>
                      <a:pt x="2" y="13"/>
                      <a:pt x="0" y="10"/>
                      <a:pt x="0" y="6"/>
                    </a:cubicBezTo>
                    <a:cubicBezTo>
                      <a:pt x="0" y="6"/>
                      <a:pt x="0" y="6"/>
                      <a:pt x="0" y="6"/>
                    </a:cubicBezTo>
                    <a:cubicBezTo>
                      <a:pt x="0" y="3"/>
                      <a:pt x="2" y="0"/>
                      <a:pt x="6" y="0"/>
                    </a:cubicBezTo>
                    <a:cubicBezTo>
                      <a:pt x="17" y="0"/>
                      <a:pt x="17" y="0"/>
                      <a:pt x="17" y="0"/>
                    </a:cubicBezTo>
                    <a:cubicBezTo>
                      <a:pt x="20" y="0"/>
                      <a:pt x="23" y="3"/>
                      <a:pt x="23" y="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nvGrpSpPr>
            <p:cNvPr id="131" name="Group 78"/>
            <p:cNvGrpSpPr>
              <a:grpSpLocks noChangeAspect="1"/>
            </p:cNvGrpSpPr>
            <p:nvPr/>
          </p:nvGrpSpPr>
          <p:grpSpPr bwMode="auto">
            <a:xfrm>
              <a:off x="10161588" y="2198688"/>
              <a:ext cx="1373187" cy="590550"/>
              <a:chOff x="6401" y="1385"/>
              <a:chExt cx="865" cy="372"/>
            </a:xfrm>
          </p:grpSpPr>
          <p:sp>
            <p:nvSpPr>
              <p:cNvPr id="132" name="AutoShape 77"/>
              <p:cNvSpPr>
                <a:spLocks noChangeAspect="1" noChangeArrowheads="1" noTextEdit="1"/>
              </p:cNvSpPr>
              <p:nvPr/>
            </p:nvSpPr>
            <p:spPr bwMode="auto">
              <a:xfrm>
                <a:off x="6401" y="1385"/>
                <a:ext cx="865" cy="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3" name="Rectangle 79"/>
              <p:cNvSpPr>
                <a:spLocks noChangeArrowheads="1"/>
              </p:cNvSpPr>
              <p:nvPr/>
            </p:nvSpPr>
            <p:spPr bwMode="auto">
              <a:xfrm>
                <a:off x="6701" y="1385"/>
                <a:ext cx="497" cy="339"/>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4" name="Rectangle 80"/>
              <p:cNvSpPr>
                <a:spLocks noChangeArrowheads="1"/>
              </p:cNvSpPr>
              <p:nvPr/>
            </p:nvSpPr>
            <p:spPr bwMode="auto">
              <a:xfrm>
                <a:off x="6717" y="1412"/>
                <a:ext cx="465" cy="297"/>
              </a:xfrm>
              <a:prstGeom prst="rect">
                <a:avLst/>
              </a:prstGeom>
              <a:gradFill>
                <a:gsLst>
                  <a:gs pos="50000">
                    <a:srgbClr val="5EB6DA"/>
                  </a:gs>
                  <a:gs pos="50000">
                    <a:srgbClr val="3999C6"/>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5" name="Freeform 81"/>
              <p:cNvSpPr>
                <a:spLocks/>
              </p:cNvSpPr>
              <p:nvPr/>
            </p:nvSpPr>
            <p:spPr bwMode="auto">
              <a:xfrm>
                <a:off x="6624" y="1730"/>
                <a:ext cx="642" cy="26"/>
              </a:xfrm>
              <a:custGeom>
                <a:avLst/>
                <a:gdLst>
                  <a:gd name="T0" fmla="*/ 0 w 510"/>
                  <a:gd name="T1" fmla="*/ 0 h 20"/>
                  <a:gd name="T2" fmla="*/ 0 w 510"/>
                  <a:gd name="T3" fmla="*/ 1 h 20"/>
                  <a:gd name="T4" fmla="*/ 19 w 510"/>
                  <a:gd name="T5" fmla="*/ 20 h 20"/>
                  <a:gd name="T6" fmla="*/ 491 w 510"/>
                  <a:gd name="T7" fmla="*/ 20 h 20"/>
                  <a:gd name="T8" fmla="*/ 510 w 510"/>
                  <a:gd name="T9" fmla="*/ 1 h 20"/>
                  <a:gd name="T10" fmla="*/ 510 w 510"/>
                  <a:gd name="T11" fmla="*/ 0 h 20"/>
                  <a:gd name="T12" fmla="*/ 0 w 5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0" h="20">
                    <a:moveTo>
                      <a:pt x="0" y="0"/>
                    </a:moveTo>
                    <a:cubicBezTo>
                      <a:pt x="0" y="1"/>
                      <a:pt x="0" y="1"/>
                      <a:pt x="0" y="1"/>
                    </a:cubicBezTo>
                    <a:cubicBezTo>
                      <a:pt x="0" y="11"/>
                      <a:pt x="9" y="20"/>
                      <a:pt x="19" y="20"/>
                    </a:cubicBezTo>
                    <a:cubicBezTo>
                      <a:pt x="491" y="20"/>
                      <a:pt x="491" y="20"/>
                      <a:pt x="491" y="20"/>
                    </a:cubicBezTo>
                    <a:cubicBezTo>
                      <a:pt x="501" y="20"/>
                      <a:pt x="510" y="11"/>
                      <a:pt x="510" y="1"/>
                    </a:cubicBezTo>
                    <a:cubicBezTo>
                      <a:pt x="510" y="0"/>
                      <a:pt x="510" y="0"/>
                      <a:pt x="510" y="0"/>
                    </a:cubicBez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6" name="Freeform 82"/>
              <p:cNvSpPr>
                <a:spLocks noEditPoints="1"/>
              </p:cNvSpPr>
              <p:nvPr/>
            </p:nvSpPr>
            <p:spPr bwMode="auto">
              <a:xfrm>
                <a:off x="6401" y="1463"/>
                <a:ext cx="165" cy="204"/>
              </a:xfrm>
              <a:custGeom>
                <a:avLst/>
                <a:gdLst>
                  <a:gd name="T0" fmla="*/ 65 w 131"/>
                  <a:gd name="T1" fmla="*/ 0 h 161"/>
                  <a:gd name="T2" fmla="*/ 0 w 131"/>
                  <a:gd name="T3" fmla="*/ 66 h 161"/>
                  <a:gd name="T4" fmla="*/ 0 w 131"/>
                  <a:gd name="T5" fmla="*/ 161 h 161"/>
                  <a:gd name="T6" fmla="*/ 109 w 131"/>
                  <a:gd name="T7" fmla="*/ 161 h 161"/>
                  <a:gd name="T8" fmla="*/ 109 w 131"/>
                  <a:gd name="T9" fmla="*/ 135 h 161"/>
                  <a:gd name="T10" fmla="*/ 107 w 131"/>
                  <a:gd name="T11" fmla="*/ 135 h 161"/>
                  <a:gd name="T12" fmla="*/ 86 w 131"/>
                  <a:gd name="T13" fmla="*/ 123 h 161"/>
                  <a:gd name="T14" fmla="*/ 109 w 131"/>
                  <a:gd name="T15" fmla="*/ 123 h 161"/>
                  <a:gd name="T16" fmla="*/ 109 w 131"/>
                  <a:gd name="T17" fmla="*/ 104 h 161"/>
                  <a:gd name="T18" fmla="*/ 131 w 131"/>
                  <a:gd name="T19" fmla="*/ 104 h 161"/>
                  <a:gd name="T20" fmla="*/ 131 w 131"/>
                  <a:gd name="T21" fmla="*/ 66 h 161"/>
                  <a:gd name="T22" fmla="*/ 65 w 131"/>
                  <a:gd name="T23" fmla="*/ 0 h 161"/>
                  <a:gd name="T24" fmla="*/ 88 w 131"/>
                  <a:gd name="T25" fmla="*/ 82 h 161"/>
                  <a:gd name="T26" fmla="*/ 80 w 131"/>
                  <a:gd name="T27" fmla="*/ 74 h 161"/>
                  <a:gd name="T28" fmla="*/ 88 w 131"/>
                  <a:gd name="T29" fmla="*/ 66 h 161"/>
                  <a:gd name="T30" fmla="*/ 96 w 131"/>
                  <a:gd name="T31" fmla="*/ 74 h 161"/>
                  <a:gd name="T32" fmla="*/ 88 w 131"/>
                  <a:gd name="T33" fmla="*/ 8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65" y="0"/>
                    </a:moveTo>
                    <a:cubicBezTo>
                      <a:pt x="29" y="0"/>
                      <a:pt x="0" y="30"/>
                      <a:pt x="0" y="66"/>
                    </a:cubicBezTo>
                    <a:cubicBezTo>
                      <a:pt x="0" y="161"/>
                      <a:pt x="0" y="161"/>
                      <a:pt x="0" y="161"/>
                    </a:cubicBezTo>
                    <a:cubicBezTo>
                      <a:pt x="109" y="161"/>
                      <a:pt x="109" y="161"/>
                      <a:pt x="109" y="161"/>
                    </a:cubicBezTo>
                    <a:cubicBezTo>
                      <a:pt x="109" y="135"/>
                      <a:pt x="109" y="135"/>
                      <a:pt x="109" y="135"/>
                    </a:cubicBezTo>
                    <a:cubicBezTo>
                      <a:pt x="108" y="135"/>
                      <a:pt x="108" y="135"/>
                      <a:pt x="107" y="135"/>
                    </a:cubicBezTo>
                    <a:cubicBezTo>
                      <a:pt x="98" y="135"/>
                      <a:pt x="90" y="130"/>
                      <a:pt x="86" y="123"/>
                    </a:cubicBezTo>
                    <a:cubicBezTo>
                      <a:pt x="109" y="123"/>
                      <a:pt x="109" y="123"/>
                      <a:pt x="109" y="123"/>
                    </a:cubicBezTo>
                    <a:cubicBezTo>
                      <a:pt x="109" y="104"/>
                      <a:pt x="109" y="104"/>
                      <a:pt x="109" y="104"/>
                    </a:cubicBezTo>
                    <a:cubicBezTo>
                      <a:pt x="131" y="104"/>
                      <a:pt x="131" y="104"/>
                      <a:pt x="131" y="104"/>
                    </a:cubicBezTo>
                    <a:cubicBezTo>
                      <a:pt x="131" y="66"/>
                      <a:pt x="131" y="66"/>
                      <a:pt x="131" y="66"/>
                    </a:cubicBezTo>
                    <a:cubicBezTo>
                      <a:pt x="131" y="30"/>
                      <a:pt x="102" y="0"/>
                      <a:pt x="65" y="0"/>
                    </a:cubicBezTo>
                    <a:close/>
                    <a:moveTo>
                      <a:pt x="88" y="82"/>
                    </a:moveTo>
                    <a:cubicBezTo>
                      <a:pt x="84" y="82"/>
                      <a:pt x="80" y="78"/>
                      <a:pt x="80" y="74"/>
                    </a:cubicBezTo>
                    <a:cubicBezTo>
                      <a:pt x="80" y="70"/>
                      <a:pt x="84" y="66"/>
                      <a:pt x="88" y="66"/>
                    </a:cubicBezTo>
                    <a:cubicBezTo>
                      <a:pt x="92" y="66"/>
                      <a:pt x="96" y="70"/>
                      <a:pt x="96" y="74"/>
                    </a:cubicBezTo>
                    <a:cubicBezTo>
                      <a:pt x="96" y="78"/>
                      <a:pt x="92" y="82"/>
                      <a:pt x="88" y="82"/>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137" name="Freeform 83"/>
              <p:cNvSpPr>
                <a:spLocks noEditPoints="1"/>
              </p:cNvSpPr>
              <p:nvPr/>
            </p:nvSpPr>
            <p:spPr bwMode="auto">
              <a:xfrm>
                <a:off x="6856" y="1463"/>
                <a:ext cx="164" cy="204"/>
              </a:xfrm>
              <a:custGeom>
                <a:avLst/>
                <a:gdLst>
                  <a:gd name="T0" fmla="*/ 0 w 131"/>
                  <a:gd name="T1" fmla="*/ 66 h 161"/>
                  <a:gd name="T2" fmla="*/ 0 w 131"/>
                  <a:gd name="T3" fmla="*/ 104 h 161"/>
                  <a:gd name="T4" fmla="*/ 22 w 131"/>
                  <a:gd name="T5" fmla="*/ 104 h 161"/>
                  <a:gd name="T6" fmla="*/ 22 w 131"/>
                  <a:gd name="T7" fmla="*/ 123 h 161"/>
                  <a:gd name="T8" fmla="*/ 45 w 131"/>
                  <a:gd name="T9" fmla="*/ 123 h 161"/>
                  <a:gd name="T10" fmla="*/ 23 w 131"/>
                  <a:gd name="T11" fmla="*/ 135 h 161"/>
                  <a:gd name="T12" fmla="*/ 22 w 131"/>
                  <a:gd name="T13" fmla="*/ 135 h 161"/>
                  <a:gd name="T14" fmla="*/ 22 w 131"/>
                  <a:gd name="T15" fmla="*/ 161 h 161"/>
                  <a:gd name="T16" fmla="*/ 131 w 131"/>
                  <a:gd name="T17" fmla="*/ 161 h 161"/>
                  <a:gd name="T18" fmla="*/ 131 w 131"/>
                  <a:gd name="T19" fmla="*/ 66 h 161"/>
                  <a:gd name="T20" fmla="*/ 65 w 131"/>
                  <a:gd name="T21" fmla="*/ 0 h 161"/>
                  <a:gd name="T22" fmla="*/ 0 w 131"/>
                  <a:gd name="T23" fmla="*/ 66 h 161"/>
                  <a:gd name="T24" fmla="*/ 35 w 131"/>
                  <a:gd name="T25" fmla="*/ 74 h 161"/>
                  <a:gd name="T26" fmla="*/ 43 w 131"/>
                  <a:gd name="T27" fmla="*/ 66 h 161"/>
                  <a:gd name="T28" fmla="*/ 50 w 131"/>
                  <a:gd name="T29" fmla="*/ 74 h 161"/>
                  <a:gd name="T30" fmla="*/ 43 w 131"/>
                  <a:gd name="T31" fmla="*/ 82 h 161"/>
                  <a:gd name="T32" fmla="*/ 35 w 131"/>
                  <a:gd name="T33" fmla="*/ 7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61">
                    <a:moveTo>
                      <a:pt x="0" y="66"/>
                    </a:moveTo>
                    <a:cubicBezTo>
                      <a:pt x="0" y="104"/>
                      <a:pt x="0" y="104"/>
                      <a:pt x="0" y="104"/>
                    </a:cubicBezTo>
                    <a:cubicBezTo>
                      <a:pt x="22" y="104"/>
                      <a:pt x="22" y="104"/>
                      <a:pt x="22" y="104"/>
                    </a:cubicBezTo>
                    <a:cubicBezTo>
                      <a:pt x="22" y="123"/>
                      <a:pt x="22" y="123"/>
                      <a:pt x="22" y="123"/>
                    </a:cubicBezTo>
                    <a:cubicBezTo>
                      <a:pt x="45" y="123"/>
                      <a:pt x="45" y="123"/>
                      <a:pt x="45" y="123"/>
                    </a:cubicBezTo>
                    <a:cubicBezTo>
                      <a:pt x="40" y="130"/>
                      <a:pt x="32" y="135"/>
                      <a:pt x="23" y="135"/>
                    </a:cubicBezTo>
                    <a:cubicBezTo>
                      <a:pt x="23" y="135"/>
                      <a:pt x="22" y="135"/>
                      <a:pt x="22" y="135"/>
                    </a:cubicBezTo>
                    <a:cubicBezTo>
                      <a:pt x="22" y="161"/>
                      <a:pt x="22" y="161"/>
                      <a:pt x="22" y="161"/>
                    </a:cubicBezTo>
                    <a:cubicBezTo>
                      <a:pt x="131" y="161"/>
                      <a:pt x="131" y="161"/>
                      <a:pt x="131" y="161"/>
                    </a:cubicBezTo>
                    <a:cubicBezTo>
                      <a:pt x="131" y="66"/>
                      <a:pt x="131" y="66"/>
                      <a:pt x="131" y="66"/>
                    </a:cubicBezTo>
                    <a:cubicBezTo>
                      <a:pt x="131" y="30"/>
                      <a:pt x="102" y="0"/>
                      <a:pt x="65" y="0"/>
                    </a:cubicBezTo>
                    <a:cubicBezTo>
                      <a:pt x="29" y="0"/>
                      <a:pt x="0" y="30"/>
                      <a:pt x="0" y="66"/>
                    </a:cubicBezTo>
                    <a:close/>
                    <a:moveTo>
                      <a:pt x="35" y="74"/>
                    </a:moveTo>
                    <a:cubicBezTo>
                      <a:pt x="35" y="70"/>
                      <a:pt x="38" y="66"/>
                      <a:pt x="43" y="66"/>
                    </a:cubicBezTo>
                    <a:cubicBezTo>
                      <a:pt x="47" y="66"/>
                      <a:pt x="50" y="70"/>
                      <a:pt x="50" y="74"/>
                    </a:cubicBezTo>
                    <a:cubicBezTo>
                      <a:pt x="50" y="78"/>
                      <a:pt x="47" y="82"/>
                      <a:pt x="43" y="82"/>
                    </a:cubicBezTo>
                    <a:cubicBezTo>
                      <a:pt x="38" y="82"/>
                      <a:pt x="35" y="78"/>
                      <a:pt x="35"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grpSp>
        <p:nvGrpSpPr>
          <p:cNvPr id="336" name="6 Hot Path Business Logic"/>
          <p:cNvGrpSpPr/>
          <p:nvPr/>
        </p:nvGrpSpPr>
        <p:grpSpPr>
          <a:xfrm>
            <a:off x="5450422" y="4672203"/>
            <a:ext cx="3673695" cy="1323037"/>
            <a:chOff x="5450422" y="4485437"/>
            <a:chExt cx="3673695" cy="1201144"/>
          </a:xfrm>
        </p:grpSpPr>
        <p:sp>
          <p:nvSpPr>
            <p:cNvPr id="21" name="Rectangle 20"/>
            <p:cNvSpPr/>
            <p:nvPr/>
          </p:nvSpPr>
          <p:spPr bwMode="auto">
            <a:xfrm rot="16200000">
              <a:off x="6685904" y="3249955"/>
              <a:ext cx="1201144" cy="3672108"/>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Hot Path Business Logic</a:t>
              </a:r>
            </a:p>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Service Fabric &amp; Actor Framework</a:t>
              </a:r>
            </a:p>
          </p:txBody>
        </p:sp>
        <p:pic>
          <p:nvPicPr>
            <p:cNvPr id="295" name="Picture 294"/>
            <p:cNvPicPr>
              <a:picLocks noChangeAspect="1"/>
            </p:cNvPicPr>
            <p:nvPr/>
          </p:nvPicPr>
          <p:blipFill>
            <a:blip r:embed="rId11">
              <a:clrChange>
                <a:clrFrom>
                  <a:srgbClr val="FFFFFF"/>
                </a:clrFrom>
                <a:clrTo>
                  <a:srgbClr val="FFFFFF">
                    <a:alpha val="0"/>
                  </a:srgbClr>
                </a:clrTo>
              </a:clrChange>
            </a:blip>
            <a:stretch>
              <a:fillRect/>
            </a:stretch>
          </p:blipFill>
          <p:spPr>
            <a:xfrm>
              <a:off x="8082098" y="4525618"/>
              <a:ext cx="1042019" cy="540305"/>
            </a:xfrm>
            <a:prstGeom prst="rect">
              <a:avLst/>
            </a:prstGeom>
          </p:spPr>
        </p:pic>
      </p:grpSp>
      <p:grpSp>
        <p:nvGrpSpPr>
          <p:cNvPr id="159" name="2 Cloud Gateway"/>
          <p:cNvGrpSpPr/>
          <p:nvPr/>
        </p:nvGrpSpPr>
        <p:grpSpPr>
          <a:xfrm>
            <a:off x="3793359" y="2009904"/>
            <a:ext cx="1150668" cy="3976839"/>
            <a:chOff x="3791485" y="2035023"/>
            <a:chExt cx="1150668" cy="3976839"/>
          </a:xfrm>
        </p:grpSpPr>
        <p:sp>
          <p:nvSpPr>
            <p:cNvPr id="18" name="Rectangle 17"/>
            <p:cNvSpPr/>
            <p:nvPr/>
          </p:nvSpPr>
          <p:spPr bwMode="auto">
            <a:xfrm>
              <a:off x="3791485" y="2035023"/>
              <a:ext cx="1150668" cy="3976839"/>
            </a:xfrm>
            <a:prstGeom prst="rect">
              <a:avLst/>
            </a:prstGeom>
            <a:solidFill>
              <a:schemeClr val="bg1">
                <a:alpha val="90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pPr>
              <a:r>
                <a:rPr lang="en-US" sz="1100" dirty="0">
                  <a:solidFill>
                    <a:srgbClr val="404040">
                      <a:lumMod val="50000"/>
                    </a:srgbClr>
                  </a:solidFill>
                  <a:latin typeface="Segoe UI Black" panose="020B0A02040204020203" pitchFamily="34" charset="0"/>
                  <a:ea typeface="Segoe UI Black" panose="020B0A02040204020203" pitchFamily="34" charset="0"/>
                  <a:cs typeface="Segoe UI Black" panose="020B0A02040204020203" pitchFamily="34" charset="0"/>
                </a:rPr>
                <a:t>Cloud Gateway</a:t>
              </a:r>
            </a:p>
            <a:p>
              <a:pPr defTabSz="913748" fontAlgn="base">
                <a:lnSpc>
                  <a:spcPct val="90000"/>
                </a:lnSpc>
                <a:spcBef>
                  <a:spcPct val="0"/>
                </a:spcBef>
              </a:pPr>
              <a:endParaRPr lang="en-US" sz="800" dirty="0">
                <a:solidFill>
                  <a:srgbClr val="404040">
                    <a:lumMod val="50000"/>
                  </a:srgbClr>
                </a:solidFill>
                <a:latin typeface="Segoe UI Semibold" panose="020B0702040204020203" pitchFamily="34" charset="0"/>
                <a:ea typeface="Segoe UI" pitchFamily="34" charset="0"/>
                <a:cs typeface="Segoe UI" pitchFamily="34" charset="0"/>
              </a:endParaRP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Event Hubs</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amp;</a:t>
              </a:r>
            </a:p>
            <a:p>
              <a:pPr defTabSz="913748" fontAlgn="base">
                <a:lnSpc>
                  <a:spcPct val="90000"/>
                </a:lnSpc>
                <a:spcBef>
                  <a:spcPct val="0"/>
                </a:spcBef>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IoT Hub</a:t>
              </a:r>
            </a:p>
          </p:txBody>
        </p:sp>
        <p:grpSp>
          <p:nvGrpSpPr>
            <p:cNvPr id="158" name="Group 157"/>
            <p:cNvGrpSpPr/>
            <p:nvPr/>
          </p:nvGrpSpPr>
          <p:grpSpPr>
            <a:xfrm>
              <a:off x="3937962" y="4220314"/>
              <a:ext cx="828566" cy="927456"/>
              <a:chOff x="3889804" y="5487538"/>
              <a:chExt cx="981581" cy="1503220"/>
            </a:xfrm>
          </p:grpSpPr>
          <p:grpSp>
            <p:nvGrpSpPr>
              <p:cNvPr id="23" name="Group 22"/>
              <p:cNvGrpSpPr/>
              <p:nvPr/>
            </p:nvGrpSpPr>
            <p:grpSpPr>
              <a:xfrm>
                <a:off x="4088812" y="5729791"/>
                <a:ext cx="640699" cy="978963"/>
                <a:chOff x="3994659" y="7008702"/>
                <a:chExt cx="745465" cy="1374671"/>
              </a:xfrm>
            </p:grpSpPr>
            <p:sp>
              <p:nvSpPr>
                <p:cNvPr id="192" name="Rectangle 191"/>
                <p:cNvSpPr/>
                <p:nvPr>
                  <p:custDataLst>
                    <p:tags r:id="rId1"/>
                  </p:custDataLst>
                </p:nvPr>
              </p:nvSpPr>
              <p:spPr bwMode="auto">
                <a:xfrm>
                  <a:off x="3994660" y="7008702"/>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3" name="Rectangle 192"/>
                <p:cNvSpPr/>
                <p:nvPr>
                  <p:custDataLst>
                    <p:tags r:id="rId2"/>
                  </p:custDataLst>
                </p:nvPr>
              </p:nvSpPr>
              <p:spPr bwMode="auto">
                <a:xfrm>
                  <a:off x="4285367" y="7262718"/>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4" name="Rectangle 193"/>
                <p:cNvSpPr/>
                <p:nvPr>
                  <p:custDataLst>
                    <p:tags r:id="rId3"/>
                  </p:custDataLst>
                </p:nvPr>
              </p:nvSpPr>
              <p:spPr bwMode="auto">
                <a:xfrm>
                  <a:off x="3994660" y="7513156"/>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5" name="Rectangle 194"/>
                <p:cNvSpPr/>
                <p:nvPr>
                  <p:custDataLst>
                    <p:tags r:id="rId4"/>
                  </p:custDataLst>
                </p:nvPr>
              </p:nvSpPr>
              <p:spPr bwMode="auto">
                <a:xfrm>
                  <a:off x="4285367" y="7799834"/>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96" name="Rectangle 195"/>
                <p:cNvSpPr/>
                <p:nvPr>
                  <p:custDataLst>
                    <p:tags r:id="rId5"/>
                  </p:custDataLst>
                </p:nvPr>
              </p:nvSpPr>
              <p:spPr bwMode="auto">
                <a:xfrm>
                  <a:off x="3994659" y="8017615"/>
                  <a:ext cx="182881"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200" name="Rectangle 199"/>
                <p:cNvSpPr/>
                <p:nvPr>
                  <p:custDataLst>
                    <p:tags r:id="rId6"/>
                  </p:custDataLst>
                </p:nvPr>
              </p:nvSpPr>
              <p:spPr bwMode="auto">
                <a:xfrm>
                  <a:off x="4557245" y="7511743"/>
                  <a:ext cx="182879" cy="3657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p>
                  <a:pPr defTabSz="932406"/>
                  <a:endParaRPr lang="en-US" sz="15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grpSp>
          <p:sp>
            <p:nvSpPr>
              <p:cNvPr id="329" name="Freeform 328"/>
              <p:cNvSpPr/>
              <p:nvPr/>
            </p:nvSpPr>
            <p:spPr bwMode="auto">
              <a:xfrm rot="5400000">
                <a:off x="4215158" y="5164754"/>
                <a:ext cx="333444" cy="979011"/>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330" name="Freeform 329"/>
              <p:cNvSpPr/>
              <p:nvPr/>
            </p:nvSpPr>
            <p:spPr bwMode="auto">
              <a:xfrm rot="16200000" flipV="1">
                <a:off x="4212590" y="6334528"/>
                <a:ext cx="333444"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grpSp>
      </p:grpSp>
      <p:pic>
        <p:nvPicPr>
          <p:cNvPr id="140" name="Picture 13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66631" y="5399016"/>
            <a:ext cx="384246" cy="384246"/>
          </a:xfrm>
          <a:prstGeom prst="rect">
            <a:avLst/>
          </a:prstGeom>
        </p:spPr>
      </p:pic>
      <p:cxnSp>
        <p:nvCxnSpPr>
          <p:cNvPr id="138" name="2 fg"/>
          <p:cNvCxnSpPr/>
          <p:nvPr/>
        </p:nvCxnSpPr>
        <p:spPr>
          <a:xfrm flipV="1">
            <a:off x="1001852" y="5515260"/>
            <a:ext cx="345623" cy="3572"/>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9" name="2 fg"/>
          <p:cNvCxnSpPr/>
          <p:nvPr/>
        </p:nvCxnSpPr>
        <p:spPr>
          <a:xfrm flipV="1">
            <a:off x="996283" y="5764545"/>
            <a:ext cx="340045" cy="11241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2 fg"/>
          <p:cNvCxnSpPr/>
          <p:nvPr/>
        </p:nvCxnSpPr>
        <p:spPr>
          <a:xfrm flipV="1">
            <a:off x="1003336" y="4597486"/>
            <a:ext cx="333731" cy="200138"/>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7" name="2 Field Gateway"/>
          <p:cNvGrpSpPr/>
          <p:nvPr/>
        </p:nvGrpSpPr>
        <p:grpSpPr>
          <a:xfrm>
            <a:off x="1384343" y="3692659"/>
            <a:ext cx="769091" cy="1063609"/>
            <a:chOff x="1547306" y="5067599"/>
            <a:chExt cx="769091" cy="1063609"/>
          </a:xfrm>
        </p:grpSpPr>
        <p:sp>
          <p:nvSpPr>
            <p:cNvPr id="188" name="Rectangle 187"/>
            <p:cNvSpPr/>
            <p:nvPr/>
          </p:nvSpPr>
          <p:spPr bwMode="auto">
            <a:xfrm>
              <a:off x="1547306" y="5067599"/>
              <a:ext cx="769091" cy="1063609"/>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Field Gateway</a:t>
              </a:r>
            </a:p>
          </p:txBody>
        </p:sp>
        <p:sp>
          <p:nvSpPr>
            <p:cNvPr id="189" name="Frame 5"/>
            <p:cNvSpPr>
              <a:spLocks noChangeAspect="1"/>
            </p:cNvSpPr>
            <p:nvPr/>
          </p:nvSpPr>
          <p:spPr bwMode="auto">
            <a:xfrm>
              <a:off x="1683184" y="5179458"/>
              <a:ext cx="497333" cy="497199"/>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algn="ctr" defTabSz="913748" fontAlgn="base">
                <a:spcBef>
                  <a:spcPct val="0"/>
                </a:spcBef>
                <a:spcAft>
                  <a:spcPct val="0"/>
                </a:spcAft>
              </a:pPr>
              <a:endParaRPr lang="en-US" spc="-50" dirty="0">
                <a:solidFill>
                  <a:prstClr val="black"/>
                </a:solidFill>
                <a:ea typeface="Segoe UI" pitchFamily="34" charset="0"/>
                <a:cs typeface="Segoe UI" pitchFamily="34" charset="0"/>
              </a:endParaRPr>
            </a:p>
          </p:txBody>
        </p:sp>
      </p:grpSp>
      <p:grpSp>
        <p:nvGrpSpPr>
          <p:cNvPr id="191" name="3 Protocol Adaptation"/>
          <p:cNvGrpSpPr/>
          <p:nvPr/>
        </p:nvGrpSpPr>
        <p:grpSpPr>
          <a:xfrm>
            <a:off x="2149195" y="3694038"/>
            <a:ext cx="808360" cy="1062230"/>
            <a:chOff x="2505117" y="3539000"/>
            <a:chExt cx="877565" cy="1062230"/>
          </a:xfrm>
        </p:grpSpPr>
        <p:sp>
          <p:nvSpPr>
            <p:cNvPr id="197" name="Rectangle 196"/>
            <p:cNvSpPr/>
            <p:nvPr/>
          </p:nvSpPr>
          <p:spPr bwMode="auto">
            <a:xfrm>
              <a:off x="2505117" y="3539000"/>
              <a:ext cx="877565" cy="1062230"/>
            </a:xfrm>
            <a:prstGeom prst="rect">
              <a:avLst/>
            </a:prstGeom>
            <a:solidFill>
              <a:schemeClr val="bg1">
                <a:alpha val="79000"/>
              </a:schemeClr>
            </a:solidFill>
            <a:ln w="19050">
              <a:gradFill>
                <a:gsLst>
                  <a:gs pos="50000">
                    <a:srgbClr val="5EB6DA"/>
                  </a:gs>
                  <a:gs pos="50000">
                    <a:srgbClr val="3999C6"/>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3152" tIns="91440" rIns="0" bIns="91414" numCol="1" spcCol="0" rtlCol="0" fromWordArt="0" anchor="b" anchorCtr="0" forceAA="0" compatLnSpc="1">
              <a:prstTxWarp prst="textNoShape">
                <a:avLst/>
              </a:prstTxWarp>
              <a:noAutofit/>
            </a:bodyPr>
            <a:lstStyle/>
            <a:p>
              <a:pPr defTabSz="913748" fontAlgn="base">
                <a:lnSpc>
                  <a:spcPct val="90000"/>
                </a:lnSpc>
                <a:spcBef>
                  <a:spcPct val="0"/>
                </a:spcBef>
                <a:spcAft>
                  <a:spcPts val="600"/>
                </a:spcAft>
              </a:pPr>
              <a:r>
                <a:rPr lang="en-US" sz="1100" dirty="0">
                  <a:solidFill>
                    <a:srgbClr val="404040">
                      <a:lumMod val="50000"/>
                    </a:srgbClr>
                  </a:solidFill>
                  <a:latin typeface="Segoe UI Semibold" panose="020B0702040204020203" pitchFamily="34" charset="0"/>
                  <a:ea typeface="Segoe UI" pitchFamily="34" charset="0"/>
                  <a:cs typeface="Segoe UI" pitchFamily="34" charset="0"/>
                </a:rPr>
                <a:t>Protocol Adaptation</a:t>
              </a:r>
            </a:p>
          </p:txBody>
        </p:sp>
        <p:sp>
          <p:nvSpPr>
            <p:cNvPr id="198" name="Rectangle 31"/>
            <p:cNvSpPr>
              <a:spLocks noChangeArrowheads="1"/>
            </p:cNvSpPr>
            <p:nvPr/>
          </p:nvSpPr>
          <p:spPr bwMode="auto">
            <a:xfrm>
              <a:off x="2715594" y="3656543"/>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1" name="Rectangle 32"/>
            <p:cNvSpPr>
              <a:spLocks noChangeArrowheads="1"/>
            </p:cNvSpPr>
            <p:nvPr/>
          </p:nvSpPr>
          <p:spPr bwMode="auto">
            <a:xfrm>
              <a:off x="2715594" y="3784262"/>
              <a:ext cx="170000" cy="88896"/>
            </a:xfrm>
            <a:prstGeom prst="rect">
              <a:avLst/>
            </a:prstGeom>
            <a:solidFill>
              <a:srgbClr val="00B29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3" name="Rectangle 33"/>
            <p:cNvSpPr>
              <a:spLocks noChangeArrowheads="1"/>
            </p:cNvSpPr>
            <p:nvPr/>
          </p:nvSpPr>
          <p:spPr bwMode="auto">
            <a:xfrm>
              <a:off x="2715594" y="3919601"/>
              <a:ext cx="170000" cy="81276"/>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4" name="Rectangle 35"/>
            <p:cNvSpPr>
              <a:spLocks noChangeArrowheads="1"/>
            </p:cNvSpPr>
            <p:nvPr/>
          </p:nvSpPr>
          <p:spPr bwMode="auto">
            <a:xfrm>
              <a:off x="3073158" y="3837173"/>
              <a:ext cx="168521" cy="86356"/>
            </a:xfrm>
            <a:prstGeom prst="rect">
              <a:avLst/>
            </a:prstGeom>
            <a:solidFill>
              <a:schemeClr val="accent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sp>
          <p:nvSpPr>
            <p:cNvPr id="205" name="Rectangle 38"/>
            <p:cNvSpPr>
              <a:spLocks noChangeArrowheads="1"/>
            </p:cNvSpPr>
            <p:nvPr/>
          </p:nvSpPr>
          <p:spPr bwMode="auto">
            <a:xfrm>
              <a:off x="2718874" y="4047320"/>
              <a:ext cx="170000" cy="86356"/>
            </a:xfrm>
            <a:prstGeom prst="rect">
              <a:avLst/>
            </a:prstGeom>
            <a:solidFill>
              <a:srgbClr val="FF8C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404040"/>
                </a:solidFill>
              </a:endParaRPr>
            </a:p>
          </p:txBody>
        </p:sp>
        <p:cxnSp>
          <p:nvCxnSpPr>
            <p:cNvPr id="206" name="Elbow Connector 205"/>
            <p:cNvCxnSpPr>
              <a:stCxn id="198" idx="3"/>
              <a:endCxn id="204" idx="1"/>
            </p:cNvCxnSpPr>
            <p:nvPr/>
          </p:nvCxnSpPr>
          <p:spPr>
            <a:xfrm>
              <a:off x="2885594" y="3697181"/>
              <a:ext cx="187563" cy="183170"/>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201" idx="3"/>
              <a:endCxn id="204" idx="1"/>
            </p:cNvCxnSpPr>
            <p:nvPr/>
          </p:nvCxnSpPr>
          <p:spPr>
            <a:xfrm>
              <a:off x="2885594" y="3828710"/>
              <a:ext cx="187563" cy="51641"/>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203" idx="3"/>
              <a:endCxn id="204" idx="1"/>
            </p:cNvCxnSpPr>
            <p:nvPr/>
          </p:nvCxnSpPr>
          <p:spPr>
            <a:xfrm flipV="1">
              <a:off x="2885594" y="3880351"/>
              <a:ext cx="187563" cy="79888"/>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05" idx="3"/>
              <a:endCxn id="204" idx="1"/>
            </p:cNvCxnSpPr>
            <p:nvPr/>
          </p:nvCxnSpPr>
          <p:spPr>
            <a:xfrm flipV="1">
              <a:off x="2888874" y="3880351"/>
              <a:ext cx="184284" cy="210147"/>
            </a:xfrm>
            <a:prstGeom prst="bentConnector3">
              <a:avLst>
                <a:gd name="adj1" fmla="val 50000"/>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10" name="2   Arrow fg"/>
          <p:cNvCxnSpPr/>
          <p:nvPr/>
        </p:nvCxnSpPr>
        <p:spPr>
          <a:xfrm>
            <a:off x="2976172" y="4229247"/>
            <a:ext cx="765584" cy="2219"/>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1" name="2   Arrow fg"/>
          <p:cNvCxnSpPr/>
          <p:nvPr/>
        </p:nvCxnSpPr>
        <p:spPr>
          <a:xfrm flipV="1">
            <a:off x="1010050" y="2998611"/>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3" name="2   Arrow fg"/>
          <p:cNvCxnSpPr/>
          <p:nvPr/>
        </p:nvCxnSpPr>
        <p:spPr>
          <a:xfrm flipV="1">
            <a:off x="1010049" y="2643742"/>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4" name="2   Arrow fg"/>
          <p:cNvCxnSpPr/>
          <p:nvPr/>
        </p:nvCxnSpPr>
        <p:spPr>
          <a:xfrm flipV="1">
            <a:off x="1010049" y="3344893"/>
            <a:ext cx="1909049" cy="2621"/>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5" name="2 fg"/>
          <p:cNvCxnSpPr/>
          <p:nvPr/>
        </p:nvCxnSpPr>
        <p:spPr>
          <a:xfrm>
            <a:off x="1005901" y="3719760"/>
            <a:ext cx="325659" cy="160090"/>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6" name="2 fg"/>
          <p:cNvCxnSpPr/>
          <p:nvPr/>
        </p:nvCxnSpPr>
        <p:spPr>
          <a:xfrm>
            <a:off x="1009301" y="4092932"/>
            <a:ext cx="327027" cy="58147"/>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7" name="2 fg"/>
          <p:cNvCxnSpPr/>
          <p:nvPr/>
        </p:nvCxnSpPr>
        <p:spPr>
          <a:xfrm flipV="1">
            <a:off x="1011809" y="4373170"/>
            <a:ext cx="319751" cy="86945"/>
          </a:xfrm>
          <a:prstGeom prst="straightConnector1">
            <a:avLst/>
          </a:prstGeom>
          <a:ln w="31750">
            <a:gradFill flip="none" rotWithShape="1">
              <a:gsLst>
                <a:gs pos="51000">
                  <a:schemeClr val="bg1">
                    <a:lumMod val="75000"/>
                  </a:schemeClr>
                </a:gs>
                <a:gs pos="50000">
                  <a:schemeClr val="bg1">
                    <a:lumMod val="50000"/>
                  </a:schemeClr>
                </a:gs>
              </a:gsLst>
              <a:lin ang="18900000" scaled="1"/>
              <a:tileRect/>
            </a:gra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973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37"/>
                                        </p:tgtEl>
                                        <p:attrNameLst>
                                          <p:attrName>style.visibility</p:attrName>
                                        </p:attrNameLst>
                                      </p:cBhvr>
                                      <p:to>
                                        <p:strVal val="visible"/>
                                      </p:to>
                                    </p:set>
                                    <p:animEffect transition="in" filter="fade">
                                      <p:cBhvr>
                                        <p:cTn id="12" dur="500"/>
                                        <p:tgtEl>
                                          <p:spTgt spid="337"/>
                                        </p:tgtEl>
                                      </p:cBhvr>
                                    </p:animEffect>
                                  </p:childTnLst>
                                </p:cTn>
                              </p:par>
                              <p:par>
                                <p:cTn id="13" presetID="10" presetClass="entr" presetSubtype="0" fill="hold" nodeType="withEffect">
                                  <p:stCondLst>
                                    <p:cond delay="0"/>
                                  </p:stCondLst>
                                  <p:childTnLst>
                                    <p:set>
                                      <p:cBhvr>
                                        <p:cTn id="14" dur="1" fill="hold">
                                          <p:stCondLst>
                                            <p:cond delay="0"/>
                                          </p:stCondLst>
                                        </p:cTn>
                                        <p:tgtEl>
                                          <p:spTgt spid="249"/>
                                        </p:tgtEl>
                                        <p:attrNameLst>
                                          <p:attrName>style.visibility</p:attrName>
                                        </p:attrNameLst>
                                      </p:cBhvr>
                                      <p:to>
                                        <p:strVal val="visible"/>
                                      </p:to>
                                    </p:set>
                                    <p:animEffect transition="in" filter="fade">
                                      <p:cBhvr>
                                        <p:cTn id="15" dur="500"/>
                                        <p:tgtEl>
                                          <p:spTgt spid="249"/>
                                        </p:tgtEl>
                                      </p:cBhvr>
                                    </p:animEffect>
                                  </p:childTnLst>
                                </p:cTn>
                              </p:par>
                              <p:par>
                                <p:cTn id="16" presetID="10" presetClass="entr" presetSubtype="0" fill="hold" nodeType="withEffect">
                                  <p:stCondLst>
                                    <p:cond delay="0"/>
                                  </p:stCondLst>
                                  <p:childTnLst>
                                    <p:set>
                                      <p:cBhvr>
                                        <p:cTn id="17" dur="1" fill="hold">
                                          <p:stCondLst>
                                            <p:cond delay="0"/>
                                          </p:stCondLst>
                                        </p:cTn>
                                        <p:tgtEl>
                                          <p:spTgt spid="250"/>
                                        </p:tgtEl>
                                        <p:attrNameLst>
                                          <p:attrName>style.visibility</p:attrName>
                                        </p:attrNameLst>
                                      </p:cBhvr>
                                      <p:to>
                                        <p:strVal val="visible"/>
                                      </p:to>
                                    </p:set>
                                    <p:animEffect transition="in" filter="fade">
                                      <p:cBhvr>
                                        <p:cTn id="18" dur="500"/>
                                        <p:tgtEl>
                                          <p:spTgt spid="250"/>
                                        </p:tgtEl>
                                      </p:cBhvr>
                                    </p:animEffect>
                                  </p:childTnLst>
                                </p:cTn>
                              </p:par>
                              <p:par>
                                <p:cTn id="19" presetID="10" presetClass="entr" presetSubtype="0" fill="hold" nodeType="withEffect">
                                  <p:stCondLst>
                                    <p:cond delay="0"/>
                                  </p:stCondLst>
                                  <p:childTnLst>
                                    <p:set>
                                      <p:cBhvr>
                                        <p:cTn id="20" dur="1" fill="hold">
                                          <p:stCondLst>
                                            <p:cond delay="0"/>
                                          </p:stCondLst>
                                        </p:cTn>
                                        <p:tgtEl>
                                          <p:spTgt spid="251"/>
                                        </p:tgtEl>
                                        <p:attrNameLst>
                                          <p:attrName>style.visibility</p:attrName>
                                        </p:attrNameLst>
                                      </p:cBhvr>
                                      <p:to>
                                        <p:strVal val="visible"/>
                                      </p:to>
                                    </p:set>
                                    <p:animEffect transition="in" filter="fade">
                                      <p:cBhvr>
                                        <p:cTn id="21"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a:xfrm>
            <a:off x="274639" y="295274"/>
            <a:ext cx="11889564" cy="917575"/>
          </a:xfrm>
        </p:spPr>
        <p:txBody>
          <a:bodyPr/>
          <a:lstStyle/>
          <a:p>
            <a:r>
              <a:rPr lang="en-US" dirty="0"/>
              <a:t>Microsoft Azure </a:t>
            </a:r>
            <a:r>
              <a:rPr lang="en-US" dirty="0" err="1"/>
              <a:t>IoT</a:t>
            </a:r>
            <a:r>
              <a:rPr lang="en-US" dirty="0"/>
              <a:t> services</a:t>
            </a:r>
            <a:br>
              <a:rPr lang="en-US"/>
            </a:br>
            <a:endParaRPr lang="en-US" sz="3600" dirty="0"/>
          </a:p>
        </p:txBody>
      </p:sp>
      <p:graphicFrame>
        <p:nvGraphicFramePr>
          <p:cNvPr id="32" name="Table 31"/>
          <p:cNvGraphicFramePr>
            <a:graphicFrameLocks noGrp="1"/>
          </p:cNvGraphicFramePr>
          <p:nvPr>
            <p:extLst/>
          </p:nvPr>
        </p:nvGraphicFramePr>
        <p:xfrm>
          <a:off x="720991" y="1820862"/>
          <a:ext cx="10994494" cy="4804341"/>
        </p:xfrm>
        <a:graphic>
          <a:graphicData uri="http://schemas.openxmlformats.org/drawingml/2006/table">
            <a:tbl>
              <a:tblPr firstRow="1" bandRow="1">
                <a:tableStyleId>{5C22544A-7EE6-4342-B048-85BDC9FD1C3A}</a:tableStyleId>
              </a:tblPr>
              <a:tblGrid>
                <a:gridCol w="1537494">
                  <a:extLst>
                    <a:ext uri="{9D8B030D-6E8A-4147-A177-3AD203B41FA5}">
                      <a16:colId xmlns:a16="http://schemas.microsoft.com/office/drawing/2014/main" val="20000"/>
                    </a:ext>
                  </a:extLst>
                </a:gridCol>
                <a:gridCol w="2364250">
                  <a:extLst>
                    <a:ext uri="{9D8B030D-6E8A-4147-A177-3AD203B41FA5}">
                      <a16:colId xmlns:a16="http://schemas.microsoft.com/office/drawing/2014/main" val="20001"/>
                    </a:ext>
                  </a:extLst>
                </a:gridCol>
                <a:gridCol w="2364250">
                  <a:extLst>
                    <a:ext uri="{9D8B030D-6E8A-4147-A177-3AD203B41FA5}">
                      <a16:colId xmlns:a16="http://schemas.microsoft.com/office/drawing/2014/main" val="20002"/>
                    </a:ext>
                  </a:extLst>
                </a:gridCol>
                <a:gridCol w="2364250">
                  <a:extLst>
                    <a:ext uri="{9D8B030D-6E8A-4147-A177-3AD203B41FA5}">
                      <a16:colId xmlns:a16="http://schemas.microsoft.com/office/drawing/2014/main" val="20003"/>
                    </a:ext>
                  </a:extLst>
                </a:gridCol>
                <a:gridCol w="2364250">
                  <a:extLst>
                    <a:ext uri="{9D8B030D-6E8A-4147-A177-3AD203B41FA5}">
                      <a16:colId xmlns:a16="http://schemas.microsoft.com/office/drawing/2014/main" val="20004"/>
                    </a:ext>
                  </a:extLst>
                </a:gridCol>
              </a:tblGrid>
              <a:tr h="479554">
                <a:tc>
                  <a:txBody>
                    <a:bodyPr/>
                    <a:lstStyle/>
                    <a:p>
                      <a:r>
                        <a:rPr lang="en-GB" sz="1600" b="0" dirty="0">
                          <a:solidFill>
                            <a:schemeClr val="tx1"/>
                          </a:solidFill>
                          <a:latin typeface="Segoe UI Semibold" panose="020B0702040204020203" pitchFamily="34" charset="0"/>
                        </a:rPr>
                        <a:t>Device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600" b="0" baseline="0" dirty="0">
                          <a:solidFill>
                            <a:schemeClr val="tx1"/>
                          </a:solidFill>
                          <a:latin typeface="Segoe UI Semibold" panose="020B0702040204020203" pitchFamily="34" charset="0"/>
                        </a:rPr>
                        <a:t>Device Connectivity</a:t>
                      </a:r>
                      <a:endParaRPr lang="en-GB"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a:solidFill>
                            <a:schemeClr val="tx1"/>
                          </a:solidFill>
                          <a:latin typeface="Segoe UI Semibold" panose="020B0702040204020203" pitchFamily="34" charset="0"/>
                        </a:rPr>
                        <a:t>Storage</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GB" sz="1600" b="0" dirty="0">
                          <a:solidFill>
                            <a:schemeClr val="tx1"/>
                          </a:solidFill>
                          <a:latin typeface="Segoe UI Semibold" panose="020B0702040204020203" pitchFamily="34" charset="0"/>
                        </a:rPr>
                        <a:t>Analytics</a:t>
                      </a:r>
                      <a:endParaRPr lang="en-US" sz="1600" b="0" dirty="0">
                        <a:solidFill>
                          <a:schemeClr val="tx1"/>
                        </a:solidFill>
                        <a:latin typeface="Segoe UI Semibold" panose="020B0702040204020203" pitchFamily="34" charset="0"/>
                      </a:endParaRPr>
                    </a:p>
                  </a:txBody>
                  <a:tcPr marL="86165" marR="86165"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Segoe UI Semibold" panose="020B0702040204020203" pitchFamily="34" charset="0"/>
                          <a:ea typeface="+mn-ea"/>
                          <a:cs typeface="+mn-cs"/>
                        </a:rPr>
                        <a:t>Presentation &amp; Action</a:t>
                      </a:r>
                    </a:p>
                  </a:txBody>
                  <a:tcPr marL="86165" marR="86165"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vent Hubs </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QL Databas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Machine Learning</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App</a:t>
                      </a:r>
                      <a:r>
                        <a:rPr lang="en-US" sz="1600" kern="0" baseline="0" dirty="0">
                          <a:solidFill>
                            <a:srgbClr val="FFFFFF"/>
                          </a:solidFill>
                        </a:rPr>
                        <a:t> Service</a:t>
                      </a:r>
                      <a:endParaRPr lang="en-US" sz="1600" kern="0" dirty="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1"/>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ervice Bu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Table/Blob Storage</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Stream Analytic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Power BI</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2"/>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xternal Data Sources</a:t>
                      </a:r>
                      <a:endParaRPr lang="en-US" sz="1600" dirty="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DocumentDB</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a:solidFill>
                            <a:srgbClr val="FFFFFF"/>
                          </a:solidFill>
                        </a:rPr>
                        <a:t>HDInsight</a:t>
                      </a:r>
                      <a:endParaRPr lang="en-US" sz="1600" kern="0" dirty="0">
                        <a:solidFill>
                          <a:srgbClr val="FFFFFF"/>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Notification Hub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3"/>
                  </a:ext>
                </a:extLst>
              </a:tr>
              <a:tr h="957795">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a:solidFill>
                          <a:schemeClr val="bg1"/>
                        </a:solidFill>
                      </a:endParaRP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External Data Sources</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Data Factory</a:t>
                      </a:r>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Mobile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solidFill>
                        <a:schemeClr val="bg1"/>
                      </a:solidFill>
                      <a:prstDash val="dot"/>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4"/>
                  </a:ext>
                </a:extLst>
              </a:tr>
              <a:tr h="841748">
                <a:tc>
                  <a:txBody>
                    <a:body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61659" marR="43083" marT="43083" marB="43083"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a:solidFill>
                            <a:srgbClr val="FFFFFF"/>
                          </a:solidFill>
                        </a:rPr>
                        <a:t>BizTalk Services</a:t>
                      </a:r>
                    </a:p>
                  </a:txBody>
                  <a:tcPr marL="861659" marR="43083" marT="43083" marB="43083"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999C6"/>
                    </a:solidFill>
                  </a:tcPr>
                </a:tc>
                <a:extLst>
                  <a:ext uri="{0D108BD9-81ED-4DB2-BD59-A6C34878D82A}">
                    <a16:rowId xmlns:a16="http://schemas.microsoft.com/office/drawing/2014/main" val="10005"/>
                  </a:ext>
                </a:extLst>
              </a:tr>
            </a:tbl>
          </a:graphicData>
        </a:graphic>
      </p:graphicFrame>
      <p:grpSp>
        <p:nvGrpSpPr>
          <p:cNvPr id="33" name="Group 32"/>
          <p:cNvGrpSpPr>
            <a:grpSpLocks noChangeAspect="1"/>
          </p:cNvGrpSpPr>
          <p:nvPr/>
        </p:nvGrpSpPr>
        <p:grpSpPr>
          <a:xfrm>
            <a:off x="980098" y="2547100"/>
            <a:ext cx="857276" cy="619142"/>
            <a:chOff x="5893817" y="-2363993"/>
            <a:chExt cx="1589176" cy="1147736"/>
          </a:xfrm>
        </p:grpSpPr>
        <p:pic>
          <p:nvPicPr>
            <p:cNvPr id="34" name="Picture 3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35" name="Group 34"/>
            <p:cNvGrpSpPr>
              <a:grpSpLocks noChangeAspect="1"/>
            </p:cNvGrpSpPr>
            <p:nvPr/>
          </p:nvGrpSpPr>
          <p:grpSpPr>
            <a:xfrm>
              <a:off x="6051365" y="-2363988"/>
              <a:ext cx="1149652" cy="1147731"/>
              <a:chOff x="2475317" y="-6877877"/>
              <a:chExt cx="1493848" cy="1490961"/>
            </a:xfrm>
          </p:grpSpPr>
          <p:sp>
            <p:nvSpPr>
              <p:cNvPr id="40"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sp>
            <p:nvSpPr>
              <p:cNvPr id="41"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sp>
            <p:nvSpPr>
              <p:cNvPr id="42" name="Rectangle 41"/>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698840">
                  <a:defRPr/>
                </a:pPr>
                <a:endParaRPr lang="en-US" sz="900" kern="0">
                  <a:solidFill>
                    <a:srgbClr val="000000"/>
                  </a:solidFill>
                  <a:sym typeface="Segoe UI" panose="020B0502040204020203" pitchFamily="34" charset="0"/>
                </a:endParaRPr>
              </a:p>
            </p:txBody>
          </p:sp>
        </p:grpSp>
        <p:sp>
          <p:nvSpPr>
            <p:cNvPr id="3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8548" tIns="34273" rIns="68548" bIns="34273" numCol="1" rtlCol="0" anchor="ctr" anchorCtr="0" compatLnSpc="1">
              <a:prstTxWarp prst="textNoShape">
                <a:avLst/>
              </a:prstTxWarp>
            </a:bodyPr>
            <a:lstStyle/>
            <a:p>
              <a:pPr algn="ctr" defTabSz="616560">
                <a:defRPr/>
              </a:pPr>
              <a:endParaRPr lang="en-US" sz="1350" kern="0" dirty="0">
                <a:solidFill>
                  <a:srgbClr val="000000"/>
                </a:solidFill>
                <a:latin typeface="Segoe UI Light" panose="020B0502040204020203" pitchFamily="34" charset="0"/>
                <a:sym typeface="Segoe UI Light" panose="020B0502040204020203" pitchFamily="34" charset="0"/>
              </a:endParaRPr>
            </a:p>
          </p:txBody>
        </p:sp>
        <p:pic>
          <p:nvPicPr>
            <p:cNvPr id="3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3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39" name="Freeform 3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7201" tIns="33601" rIns="67201" bIns="33601" numCol="1" rtlCol="0" anchor="ctr" anchorCtr="0" compatLnSpc="1">
              <a:prstTxWarp prst="textNoShape">
                <a:avLst/>
              </a:prstTxWarp>
            </a:bodyPr>
            <a:lstStyle/>
            <a:p>
              <a:pPr algn="ctr" defTabSz="671355" fontAlgn="base">
                <a:spcBef>
                  <a:spcPct val="0"/>
                </a:spcBef>
                <a:spcAft>
                  <a:spcPct val="0"/>
                </a:spcAft>
                <a:defRPr/>
              </a:pPr>
              <a:endParaRPr lang="en-US" sz="1275" kern="0" dirty="0">
                <a:solidFill>
                  <a:srgbClr val="000000"/>
                </a:solidFill>
              </a:endParaRPr>
            </a:p>
          </p:txBody>
        </p:sp>
      </p:grpSp>
      <p:grpSp>
        <p:nvGrpSpPr>
          <p:cNvPr id="43" name="Group 42"/>
          <p:cNvGrpSpPr>
            <a:grpSpLocks noChangeAspect="1"/>
          </p:cNvGrpSpPr>
          <p:nvPr/>
        </p:nvGrpSpPr>
        <p:grpSpPr>
          <a:xfrm>
            <a:off x="1110827" y="3472111"/>
            <a:ext cx="695399" cy="516592"/>
            <a:chOff x="5630249" y="-855090"/>
            <a:chExt cx="1258953" cy="935238"/>
          </a:xfrm>
          <a:solidFill>
            <a:schemeClr val="bg1"/>
          </a:solidFill>
        </p:grpSpPr>
        <p:sp>
          <p:nvSpPr>
            <p:cNvPr id="44"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8551" tIns="34275" rIns="68551" bIns="34275" numCol="1" anchor="t" anchorCtr="0" compatLnSpc="1">
              <a:prstTxWarp prst="textNoShape">
                <a:avLst/>
              </a:prstTxWarp>
            </a:bodyPr>
            <a:lstStyle/>
            <a:p>
              <a:pPr algn="ctr" defTabSz="698840">
                <a:defRPr/>
              </a:pPr>
              <a:endParaRPr lang="en-US" sz="1350" kern="0" dirty="0">
                <a:solidFill>
                  <a:srgbClr val="000000"/>
                </a:solidFill>
              </a:endParaRPr>
            </a:p>
          </p:txBody>
        </p:sp>
        <p:sp>
          <p:nvSpPr>
            <p:cNvPr id="5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750" kern="0" dirty="0" err="1">
                <a:solidFill>
                  <a:srgbClr val="000000"/>
                </a:solidFill>
                <a:ea typeface="Segoe UI" pitchFamily="34" charset="0"/>
                <a:cs typeface="Segoe UI" pitchFamily="34" charset="0"/>
              </a:endParaRPr>
            </a:p>
          </p:txBody>
        </p:sp>
        <p:pic>
          <p:nvPicPr>
            <p:cNvPr id="63" name="Picture 3" descr="C:\Users\chrisw\Desktop\Kinect Han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64"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7203" tIns="33602" rIns="67203" bIns="33602" numCol="1" anchor="t" anchorCtr="0" compatLnSpc="1">
              <a:prstTxWarp prst="textNoShape">
                <a:avLst/>
              </a:prstTxWarp>
            </a:bodyPr>
            <a:lstStyle/>
            <a:p>
              <a:pPr algn="ctr" defTabSz="671576">
                <a:defRPr/>
              </a:pPr>
              <a:endParaRPr lang="en-US" sz="1275" kern="0">
                <a:solidFill>
                  <a:srgbClr val="000000"/>
                </a:solidFill>
              </a:endParaRPr>
            </a:p>
          </p:txBody>
        </p:sp>
        <p:sp>
          <p:nvSpPr>
            <p:cNvPr id="65"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822610" bIns="34275" numCol="1" spcCol="0" rtlCol="0" fromWordArt="0" anchor="b" anchorCtr="0" forceAA="0" compatLnSpc="1">
              <a:prstTxWarp prst="textNoShape">
                <a:avLst/>
              </a:prstTxWarp>
              <a:noAutofit/>
            </a:bodyPr>
            <a:lstStyle/>
            <a:p>
              <a:pPr defTabSz="684846" fontAlgn="base">
                <a:spcBef>
                  <a:spcPct val="0"/>
                </a:spcBef>
                <a:spcAft>
                  <a:spcPct val="0"/>
                </a:spcAft>
                <a:defRPr/>
              </a:pPr>
              <a:endParaRPr lang="en-US" sz="1650" kern="0" spc="-38" dirty="0" err="1">
                <a:solidFill>
                  <a:srgbClr val="000000"/>
                </a:solidFill>
                <a:latin typeface="Segoe UI Light"/>
                <a:ea typeface="Segoe UI" pitchFamily="34" charset="0"/>
                <a:cs typeface="Segoe UI" pitchFamily="34" charset="0"/>
              </a:endParaRPr>
            </a:p>
          </p:txBody>
        </p:sp>
        <p:sp>
          <p:nvSpPr>
            <p:cNvPr id="66"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98813"/>
              <a:endParaRPr lang="en-US" sz="1575">
                <a:solidFill>
                  <a:srgbClr val="000000"/>
                </a:solidFill>
              </a:endParaRPr>
            </a:p>
          </p:txBody>
        </p:sp>
      </p:grpSp>
      <p:grpSp>
        <p:nvGrpSpPr>
          <p:cNvPr id="67" name="Group 66"/>
          <p:cNvGrpSpPr/>
          <p:nvPr/>
        </p:nvGrpSpPr>
        <p:grpSpPr>
          <a:xfrm>
            <a:off x="1433266" y="4262064"/>
            <a:ext cx="552282" cy="335680"/>
            <a:chOff x="2012636" y="-279971"/>
            <a:chExt cx="734842" cy="447764"/>
          </a:xfrm>
          <a:solidFill>
            <a:schemeClr val="bg1"/>
          </a:solidFill>
        </p:grpSpPr>
        <p:sp>
          <p:nvSpPr>
            <p:cNvPr id="7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algn="ctr" defTabSz="684846" fontAlgn="base">
                <a:spcBef>
                  <a:spcPct val="0"/>
                </a:spcBef>
                <a:spcAft>
                  <a:spcPct val="0"/>
                </a:spcAft>
                <a:defRPr/>
              </a:pPr>
              <a:endParaRPr lang="en-US" sz="1350" kern="0" spc="-38" dirty="0" err="1">
                <a:solidFill>
                  <a:srgbClr val="000000"/>
                </a:solidFill>
                <a:ea typeface="Segoe UI" pitchFamily="34" charset="0"/>
                <a:cs typeface="Segoe UI" pitchFamily="34" charset="0"/>
              </a:endParaRPr>
            </a:p>
          </p:txBody>
        </p:sp>
        <p:sp>
          <p:nvSpPr>
            <p:cNvPr id="7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2261" tIns="41131" rIns="41131" bIns="82261" numCol="1" spcCol="0" rtlCol="0" fromWordArt="0" anchor="b" anchorCtr="0" forceAA="0" compatLnSpc="1">
              <a:prstTxWarp prst="textNoShape">
                <a:avLst/>
              </a:prstTxWarp>
              <a:noAutofit/>
            </a:bodyPr>
            <a:lstStyle/>
            <a:p>
              <a:pPr algn="ctr" defTabSz="821816" fontAlgn="base">
                <a:spcBef>
                  <a:spcPct val="0"/>
                </a:spcBef>
                <a:spcAft>
                  <a:spcPct val="0"/>
                </a:spcAft>
                <a:defRPr/>
              </a:pPr>
              <a:endParaRPr lang="en-US" kern="0" spc="-45" dirty="0" err="1">
                <a:solidFill>
                  <a:srgbClr val="000000"/>
                </a:solidFill>
                <a:ea typeface="Segoe UI" pitchFamily="34" charset="0"/>
                <a:cs typeface="Segoe UI" pitchFamily="34" charset="0"/>
              </a:endParaRPr>
            </a:p>
          </p:txBody>
        </p:sp>
      </p:grpSp>
      <p:pic>
        <p:nvPicPr>
          <p:cNvPr id="75" name="Picture 7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6462" y="4209473"/>
            <a:ext cx="479992" cy="479992"/>
          </a:xfrm>
          <a:prstGeom prst="rect">
            <a:avLst/>
          </a:prstGeom>
        </p:spPr>
      </p:pic>
      <p:pic>
        <p:nvPicPr>
          <p:cNvPr id="82"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2392580" y="4265776"/>
            <a:ext cx="472432" cy="472432"/>
          </a:xfrm>
          <a:prstGeom prst="rect">
            <a:avLst/>
          </a:prstGeom>
          <a:noFill/>
        </p:spPr>
      </p:pic>
      <p:pic>
        <p:nvPicPr>
          <p:cNvPr id="83" name="Picture 3"/>
          <p:cNvPicPr>
            <a:picLocks noChangeAspect="1"/>
          </p:cNvPicPr>
          <p:nvPr/>
        </p:nvPicPr>
        <p:blipFill>
          <a:blip r:embed="rId9">
            <a:biLevel thresh="25000"/>
            <a:extLst>
              <a:ext uri="{28A0092B-C50C-407E-A947-70E740481C1C}">
                <a14:useLocalDpi xmlns:a14="http://schemas.microsoft.com/office/drawing/2010/main"/>
              </a:ext>
            </a:extLst>
          </a:blip>
          <a:srcRect/>
          <a:stretch>
            <a:fillRect/>
          </a:stretch>
        </p:blipFill>
        <p:spPr bwMode="auto">
          <a:xfrm>
            <a:off x="4754526" y="2556449"/>
            <a:ext cx="423739" cy="44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6"/>
          <p:cNvPicPr>
            <a:picLocks noChangeAspect="1"/>
          </p:cNvPicPr>
          <p:nvPr/>
        </p:nvPicPr>
        <p:blipFill>
          <a:blip r:embed="rId10">
            <a:biLevel thresh="25000"/>
            <a:extLst>
              <a:ext uri="{28A0092B-C50C-407E-A947-70E740481C1C}">
                <a14:useLocalDpi xmlns:a14="http://schemas.microsoft.com/office/drawing/2010/main"/>
              </a:ext>
            </a:extLst>
          </a:blip>
          <a:srcRect/>
          <a:stretch>
            <a:fillRect/>
          </a:stretch>
        </p:blipFill>
        <p:spPr bwMode="auto">
          <a:xfrm>
            <a:off x="4740565" y="3465427"/>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70233" y="4091686"/>
            <a:ext cx="792325" cy="792325"/>
          </a:xfrm>
          <a:prstGeom prst="rect">
            <a:avLst/>
          </a:prstGeom>
        </p:spPr>
      </p:pic>
      <p:sp>
        <p:nvSpPr>
          <p:cNvPr id="89" name="TextBox 88"/>
          <p:cNvSpPr txBox="1"/>
          <p:nvPr/>
        </p:nvSpPr>
        <p:spPr>
          <a:xfrm>
            <a:off x="4795728" y="4429905"/>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pic>
        <p:nvPicPr>
          <p:cNvPr id="90" name="Picture 2" descr="C:\Users\mitchellg\AppData\Local\Microsoft\Windows\Temporary Internet Files\Content.Outlook\DRES7FCJ\Storage_white (2).png"/>
          <p:cNvPicPr>
            <a:picLocks noChangeAspect="1" noChangeArrowheads="1"/>
          </p:cNvPicPr>
          <p:nvPr/>
        </p:nvPicPr>
        <p:blipFill>
          <a:blip r:embed="rId8" cstate="screen">
            <a:lum bright="100000"/>
            <a:extLst>
              <a:ext uri="{28A0092B-C50C-407E-A947-70E740481C1C}">
                <a14:useLocalDpi xmlns:a14="http://schemas.microsoft.com/office/drawing/2010/main"/>
              </a:ext>
            </a:extLst>
          </a:blip>
          <a:srcRect/>
          <a:stretch>
            <a:fillRect/>
          </a:stretch>
        </p:blipFill>
        <p:spPr bwMode="auto">
          <a:xfrm>
            <a:off x="4730183" y="5185764"/>
            <a:ext cx="472432" cy="472432"/>
          </a:xfrm>
          <a:prstGeom prst="rect">
            <a:avLst/>
          </a:prstGeom>
          <a:noFill/>
        </p:spPr>
      </p:pic>
      <p:pic>
        <p:nvPicPr>
          <p:cNvPr id="91" name="Picture 9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988387" y="2391622"/>
            <a:ext cx="753850" cy="753850"/>
          </a:xfrm>
          <a:prstGeom prst="rect">
            <a:avLst/>
          </a:prstGeom>
        </p:spPr>
      </p:pic>
      <p:pic>
        <p:nvPicPr>
          <p:cNvPr id="95" name="Picture 11"/>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535450" y="2566770"/>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73"/>
          <p:cNvPicPr>
            <a:picLocks noChangeAspect="1"/>
          </p:cNvPicPr>
          <p:nvPr/>
        </p:nvPicPr>
        <p:blipFill>
          <a:blip r:embed="rId14">
            <a:biLevel thresh="25000"/>
            <a:extLst>
              <a:ext uri="{28A0092B-C50C-407E-A947-70E740481C1C}">
                <a14:useLocalDpi xmlns:a14="http://schemas.microsoft.com/office/drawing/2010/main"/>
              </a:ext>
            </a:extLst>
          </a:blip>
          <a:srcRect/>
          <a:stretch>
            <a:fillRect/>
          </a:stretch>
        </p:blipFill>
        <p:spPr bwMode="auto">
          <a:xfrm>
            <a:off x="9611332" y="5197397"/>
            <a:ext cx="278041" cy="4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6"/>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9575169" y="4349118"/>
            <a:ext cx="373876" cy="373876"/>
          </a:xfrm>
          <a:prstGeom prst="rect">
            <a:avLst/>
          </a:prstGeom>
        </p:spPr>
      </p:pic>
      <p:pic>
        <p:nvPicPr>
          <p:cNvPr id="98" name="Picture 97"/>
          <p:cNvPicPr>
            <a:picLocks noChangeAspect="1"/>
          </p:cNvPicPr>
          <p:nvPr/>
        </p:nvPicPr>
        <p:blipFill rotWithShape="1">
          <a:blip r:embed="rId16" cstate="screen">
            <a:extLst>
              <a:ext uri="{28A0092B-C50C-407E-A947-70E740481C1C}">
                <a14:useLocalDpi xmlns:a14="http://schemas.microsoft.com/office/drawing/2010/main"/>
              </a:ext>
            </a:extLst>
          </a:blip>
          <a:srcRect t="-1" r="-9452" b="-4026"/>
          <a:stretch/>
        </p:blipFill>
        <p:spPr>
          <a:xfrm>
            <a:off x="9556198" y="3459334"/>
            <a:ext cx="392849" cy="381240"/>
          </a:xfrm>
          <a:prstGeom prst="rect">
            <a:avLst/>
          </a:prstGeom>
        </p:spPr>
      </p:pic>
      <p:pic>
        <p:nvPicPr>
          <p:cNvPr id="3" name="Picture 2"/>
          <p:cNvPicPr>
            <a:picLocks noChangeAspect="1"/>
          </p:cNvPicPr>
          <p:nvPr/>
        </p:nvPicPr>
        <p:blipFill>
          <a:blip r:embed="rId17" cstate="screen">
            <a:biLevel thresh="25000"/>
            <a:extLst>
              <a:ext uri="{28A0092B-C50C-407E-A947-70E740481C1C}">
                <a14:useLocalDpi xmlns:a14="http://schemas.microsoft.com/office/drawing/2010/main"/>
              </a:ext>
            </a:extLst>
          </a:blip>
          <a:stretch>
            <a:fillRect/>
          </a:stretch>
        </p:blipFill>
        <p:spPr>
          <a:xfrm>
            <a:off x="7125552" y="5139535"/>
            <a:ext cx="479521" cy="479521"/>
          </a:xfrm>
          <a:prstGeom prst="rect">
            <a:avLst/>
          </a:prstGeom>
        </p:spPr>
      </p:pic>
      <p:pic>
        <p:nvPicPr>
          <p:cNvPr id="4" name="Picture 3"/>
          <p:cNvPicPr>
            <a:picLocks noChangeAspect="1"/>
          </p:cNvPicPr>
          <p:nvPr/>
        </p:nvPicPr>
        <p:blipFill>
          <a:blip r:embed="rId18" cstate="screen">
            <a:biLevel thresh="25000"/>
            <a:extLst>
              <a:ext uri="{28A0092B-C50C-407E-A947-70E740481C1C}">
                <a14:useLocalDpi xmlns:a14="http://schemas.microsoft.com/office/drawing/2010/main"/>
              </a:ext>
            </a:extLst>
          </a:blip>
          <a:stretch>
            <a:fillRect/>
          </a:stretch>
        </p:blipFill>
        <p:spPr>
          <a:xfrm>
            <a:off x="2490034" y="3458125"/>
            <a:ext cx="406778" cy="406778"/>
          </a:xfrm>
          <a:prstGeom prst="rect">
            <a:avLst/>
          </a:prstGeom>
        </p:spPr>
      </p:pic>
      <p:pic>
        <p:nvPicPr>
          <p:cNvPr id="5" name="Picture 4"/>
          <p:cNvPicPr>
            <a:picLocks noChangeAspect="1"/>
          </p:cNvPicPr>
          <p:nvPr/>
        </p:nvPicPr>
        <p:blipFill>
          <a:blip r:embed="rId19" cstate="screen">
            <a:biLevel thresh="25000"/>
            <a:extLst>
              <a:ext uri="{28A0092B-C50C-407E-A947-70E740481C1C}">
                <a14:useLocalDpi xmlns:a14="http://schemas.microsoft.com/office/drawing/2010/main"/>
              </a:ext>
            </a:extLst>
          </a:blip>
          <a:stretch>
            <a:fillRect/>
          </a:stretch>
        </p:blipFill>
        <p:spPr>
          <a:xfrm>
            <a:off x="9535448" y="6057224"/>
            <a:ext cx="488038" cy="488038"/>
          </a:xfrm>
          <a:prstGeom prst="rect">
            <a:avLst/>
          </a:prstGeom>
        </p:spPr>
      </p:pic>
      <p:pic>
        <p:nvPicPr>
          <p:cNvPr id="45" name="Picture 44"/>
          <p:cNvPicPr>
            <a:picLocks noChangeAspect="1"/>
          </p:cNvPicPr>
          <p:nvPr/>
        </p:nvPicPr>
        <p:blipFill>
          <a:blip r:embed="rId20"/>
          <a:stretch>
            <a:fillRect/>
          </a:stretch>
        </p:blipFill>
        <p:spPr>
          <a:xfrm>
            <a:off x="7100403" y="3351688"/>
            <a:ext cx="529819" cy="529819"/>
          </a:xfrm>
          <a:prstGeom prst="rect">
            <a:avLst/>
          </a:prstGeom>
        </p:spPr>
      </p:pic>
      <p:pic>
        <p:nvPicPr>
          <p:cNvPr id="46" name="Picture 45"/>
          <p:cNvPicPr>
            <a:picLocks noChangeAspect="1"/>
          </p:cNvPicPr>
          <p:nvPr/>
        </p:nvPicPr>
        <p:blipFill>
          <a:blip r:embed="rId21"/>
          <a:stretch>
            <a:fillRect/>
          </a:stretch>
        </p:blipFill>
        <p:spPr>
          <a:xfrm>
            <a:off x="2324280" y="2547100"/>
            <a:ext cx="557267" cy="557267"/>
          </a:xfrm>
          <a:prstGeom prst="rect">
            <a:avLst/>
          </a:prstGeom>
        </p:spPr>
      </p:pic>
      <p:pic>
        <p:nvPicPr>
          <p:cNvPr id="47" name="Picture 46"/>
          <p:cNvPicPr>
            <a:picLocks noChangeAspect="1"/>
          </p:cNvPicPr>
          <p:nvPr/>
        </p:nvPicPr>
        <p:blipFill>
          <a:blip r:embed="rId22"/>
          <a:stretch>
            <a:fillRect/>
          </a:stretch>
        </p:blipFill>
        <p:spPr>
          <a:xfrm>
            <a:off x="7060007" y="4131977"/>
            <a:ext cx="610610" cy="610610"/>
          </a:xfrm>
          <a:prstGeom prst="rect">
            <a:avLst/>
          </a:prstGeom>
        </p:spPr>
      </p:pic>
    </p:spTree>
    <p:extLst>
      <p:ext uri="{BB962C8B-B14F-4D97-AF65-F5344CB8AC3E}">
        <p14:creationId xmlns:p14="http://schemas.microsoft.com/office/powerpoint/2010/main" val="3865820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1+#ppt_w/2"/>
                                          </p:val>
                                        </p:tav>
                                        <p:tav tm="100000">
                                          <p:val>
                                            <p:strVal val="#ppt_x"/>
                                          </p:val>
                                        </p:tav>
                                      </p:tavLst>
                                    </p:anim>
                                    <p:anim calcmode="lin" valueType="num">
                                      <p:cBhvr additive="base">
                                        <p:cTn id="8" dur="500" fill="hold"/>
                                        <p:tgtEl>
                                          <p:spTgt spid="3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1+#ppt_w/2"/>
                                          </p:val>
                                        </p:tav>
                                        <p:tav tm="100000">
                                          <p:val>
                                            <p:strVal val="#ppt_x"/>
                                          </p:val>
                                        </p:tav>
                                      </p:tavLst>
                                    </p:anim>
                                    <p:anim calcmode="lin" valueType="num">
                                      <p:cBhvr additive="base">
                                        <p:cTn id="12" dur="500" fill="hold"/>
                                        <p:tgtEl>
                                          <p:spTgt spid="7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1+#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83"/>
                                        </p:tgtEl>
                                        <p:attrNameLst>
                                          <p:attrName>style.visibility</p:attrName>
                                        </p:attrNameLst>
                                      </p:cBhvr>
                                      <p:to>
                                        <p:strVal val="visible"/>
                                      </p:to>
                                    </p:set>
                                    <p:anim calcmode="lin" valueType="num">
                                      <p:cBhvr additive="base">
                                        <p:cTn id="19" dur="500" fill="hold"/>
                                        <p:tgtEl>
                                          <p:spTgt spid="83"/>
                                        </p:tgtEl>
                                        <p:attrNameLst>
                                          <p:attrName>ppt_x</p:attrName>
                                        </p:attrNameLst>
                                      </p:cBhvr>
                                      <p:tavLst>
                                        <p:tav tm="0">
                                          <p:val>
                                            <p:strVal val="1+#ppt_w/2"/>
                                          </p:val>
                                        </p:tav>
                                        <p:tav tm="100000">
                                          <p:val>
                                            <p:strVal val="#ppt_x"/>
                                          </p:val>
                                        </p:tav>
                                      </p:tavLst>
                                    </p:anim>
                                    <p:anim calcmode="lin" valueType="num">
                                      <p:cBhvr additive="base">
                                        <p:cTn id="20" dur="500" fill="hold"/>
                                        <p:tgtEl>
                                          <p:spTgt spid="83"/>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87"/>
                                        </p:tgtEl>
                                        <p:attrNameLst>
                                          <p:attrName>style.visibility</p:attrName>
                                        </p:attrNameLst>
                                      </p:cBhvr>
                                      <p:to>
                                        <p:strVal val="visible"/>
                                      </p:to>
                                    </p:set>
                                    <p:anim calcmode="lin" valueType="num">
                                      <p:cBhvr additive="base">
                                        <p:cTn id="23" dur="500" fill="hold"/>
                                        <p:tgtEl>
                                          <p:spTgt spid="87"/>
                                        </p:tgtEl>
                                        <p:attrNameLst>
                                          <p:attrName>ppt_x</p:attrName>
                                        </p:attrNameLst>
                                      </p:cBhvr>
                                      <p:tavLst>
                                        <p:tav tm="0">
                                          <p:val>
                                            <p:strVal val="1+#ppt_w/2"/>
                                          </p:val>
                                        </p:tav>
                                        <p:tav tm="100000">
                                          <p:val>
                                            <p:strVal val="#ppt_x"/>
                                          </p:val>
                                        </p:tav>
                                      </p:tavLst>
                                    </p:anim>
                                    <p:anim calcmode="lin" valueType="num">
                                      <p:cBhvr additive="base">
                                        <p:cTn id="24" dur="500" fill="hold"/>
                                        <p:tgtEl>
                                          <p:spTgt spid="87"/>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89"/>
                                        </p:tgtEl>
                                        <p:attrNameLst>
                                          <p:attrName>style.visibility</p:attrName>
                                        </p:attrNameLst>
                                      </p:cBhvr>
                                      <p:to>
                                        <p:strVal val="visible"/>
                                      </p:to>
                                    </p:set>
                                    <p:anim calcmode="lin" valueType="num">
                                      <p:cBhvr additive="base">
                                        <p:cTn id="27" dur="500" fill="hold"/>
                                        <p:tgtEl>
                                          <p:spTgt spid="89"/>
                                        </p:tgtEl>
                                        <p:attrNameLst>
                                          <p:attrName>ppt_x</p:attrName>
                                        </p:attrNameLst>
                                      </p:cBhvr>
                                      <p:tavLst>
                                        <p:tav tm="0">
                                          <p:val>
                                            <p:strVal val="1+#ppt_w/2"/>
                                          </p:val>
                                        </p:tav>
                                        <p:tav tm="100000">
                                          <p:val>
                                            <p:strVal val="#ppt_x"/>
                                          </p:val>
                                        </p:tav>
                                      </p:tavLst>
                                    </p:anim>
                                    <p:anim calcmode="lin" valueType="num">
                                      <p:cBhvr additive="base">
                                        <p:cTn id="28" dur="500" fill="hold"/>
                                        <p:tgtEl>
                                          <p:spTgt spid="89"/>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91"/>
                                        </p:tgtEl>
                                        <p:attrNameLst>
                                          <p:attrName>style.visibility</p:attrName>
                                        </p:attrNameLst>
                                      </p:cBhvr>
                                      <p:to>
                                        <p:strVal val="visible"/>
                                      </p:to>
                                    </p:set>
                                    <p:anim calcmode="lin" valueType="num">
                                      <p:cBhvr additive="base">
                                        <p:cTn id="31" dur="500" fill="hold"/>
                                        <p:tgtEl>
                                          <p:spTgt spid="91"/>
                                        </p:tgtEl>
                                        <p:attrNameLst>
                                          <p:attrName>ppt_x</p:attrName>
                                        </p:attrNameLst>
                                      </p:cBhvr>
                                      <p:tavLst>
                                        <p:tav tm="0">
                                          <p:val>
                                            <p:strVal val="1+#ppt_w/2"/>
                                          </p:val>
                                        </p:tav>
                                        <p:tav tm="100000">
                                          <p:val>
                                            <p:strVal val="#ppt_x"/>
                                          </p:val>
                                        </p:tav>
                                      </p:tavLst>
                                    </p:anim>
                                    <p:anim calcmode="lin" valueType="num">
                                      <p:cBhvr additive="base">
                                        <p:cTn id="32" dur="500" fill="hold"/>
                                        <p:tgtEl>
                                          <p:spTgt spid="91"/>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anim calcmode="lin" valueType="num">
                                      <p:cBhvr additive="base">
                                        <p:cTn id="35" dur="500" fill="hold"/>
                                        <p:tgtEl>
                                          <p:spTgt spid="95"/>
                                        </p:tgtEl>
                                        <p:attrNameLst>
                                          <p:attrName>ppt_x</p:attrName>
                                        </p:attrNameLst>
                                      </p:cBhvr>
                                      <p:tavLst>
                                        <p:tav tm="0">
                                          <p:val>
                                            <p:strVal val="1+#ppt_w/2"/>
                                          </p:val>
                                        </p:tav>
                                        <p:tav tm="100000">
                                          <p:val>
                                            <p:strVal val="#ppt_x"/>
                                          </p:val>
                                        </p:tav>
                                      </p:tavLst>
                                    </p:anim>
                                    <p:anim calcmode="lin" valueType="num">
                                      <p:cBhvr additive="base">
                                        <p:cTn id="36" dur="500" fill="hold"/>
                                        <p:tgtEl>
                                          <p:spTgt spid="95"/>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96"/>
                                        </p:tgtEl>
                                        <p:attrNameLst>
                                          <p:attrName>style.visibility</p:attrName>
                                        </p:attrNameLst>
                                      </p:cBhvr>
                                      <p:to>
                                        <p:strVal val="visible"/>
                                      </p:to>
                                    </p:set>
                                    <p:anim calcmode="lin" valueType="num">
                                      <p:cBhvr additive="base">
                                        <p:cTn id="39" dur="500" fill="hold"/>
                                        <p:tgtEl>
                                          <p:spTgt spid="96"/>
                                        </p:tgtEl>
                                        <p:attrNameLst>
                                          <p:attrName>ppt_x</p:attrName>
                                        </p:attrNameLst>
                                      </p:cBhvr>
                                      <p:tavLst>
                                        <p:tav tm="0">
                                          <p:val>
                                            <p:strVal val="1+#ppt_w/2"/>
                                          </p:val>
                                        </p:tav>
                                        <p:tav tm="100000">
                                          <p:val>
                                            <p:strVal val="#ppt_x"/>
                                          </p:val>
                                        </p:tav>
                                      </p:tavLst>
                                    </p:anim>
                                    <p:anim calcmode="lin" valueType="num">
                                      <p:cBhvr additive="base">
                                        <p:cTn id="40" dur="500" fill="hold"/>
                                        <p:tgtEl>
                                          <p:spTgt spid="96"/>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97"/>
                                        </p:tgtEl>
                                        <p:attrNameLst>
                                          <p:attrName>style.visibility</p:attrName>
                                        </p:attrNameLst>
                                      </p:cBhvr>
                                      <p:to>
                                        <p:strVal val="visible"/>
                                      </p:to>
                                    </p:set>
                                    <p:anim calcmode="lin" valueType="num">
                                      <p:cBhvr additive="base">
                                        <p:cTn id="43" dur="500" fill="hold"/>
                                        <p:tgtEl>
                                          <p:spTgt spid="97"/>
                                        </p:tgtEl>
                                        <p:attrNameLst>
                                          <p:attrName>ppt_x</p:attrName>
                                        </p:attrNameLst>
                                      </p:cBhvr>
                                      <p:tavLst>
                                        <p:tav tm="0">
                                          <p:val>
                                            <p:strVal val="1+#ppt_w/2"/>
                                          </p:val>
                                        </p:tav>
                                        <p:tav tm="100000">
                                          <p:val>
                                            <p:strVal val="#ppt_x"/>
                                          </p:val>
                                        </p:tav>
                                      </p:tavLst>
                                    </p:anim>
                                    <p:anim calcmode="lin" valueType="num">
                                      <p:cBhvr additive="base">
                                        <p:cTn id="44" dur="500" fill="hold"/>
                                        <p:tgtEl>
                                          <p:spTgt spid="97"/>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98"/>
                                        </p:tgtEl>
                                        <p:attrNameLst>
                                          <p:attrName>style.visibility</p:attrName>
                                        </p:attrNameLst>
                                      </p:cBhvr>
                                      <p:to>
                                        <p:strVal val="visible"/>
                                      </p:to>
                                    </p:set>
                                    <p:anim calcmode="lin" valueType="num">
                                      <p:cBhvr additive="base">
                                        <p:cTn id="47" dur="500" fill="hold"/>
                                        <p:tgtEl>
                                          <p:spTgt spid="98"/>
                                        </p:tgtEl>
                                        <p:attrNameLst>
                                          <p:attrName>ppt_x</p:attrName>
                                        </p:attrNameLst>
                                      </p:cBhvr>
                                      <p:tavLst>
                                        <p:tav tm="0">
                                          <p:val>
                                            <p:strVal val="1+#ppt_w/2"/>
                                          </p:val>
                                        </p:tav>
                                        <p:tav tm="100000">
                                          <p:val>
                                            <p:strVal val="#ppt_x"/>
                                          </p:val>
                                        </p:tav>
                                      </p:tavLst>
                                    </p:anim>
                                    <p:anim calcmode="lin" valueType="num">
                                      <p:cBhvr additive="base">
                                        <p:cTn id="48" dur="500" fill="hold"/>
                                        <p:tgtEl>
                                          <p:spTgt spid="98"/>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67"/>
                                        </p:tgtEl>
                                        <p:attrNameLst>
                                          <p:attrName>style.visibility</p:attrName>
                                        </p:attrNameLst>
                                      </p:cBhvr>
                                      <p:to>
                                        <p:strVal val="visible"/>
                                      </p:to>
                                    </p:set>
                                    <p:anim calcmode="lin" valueType="num">
                                      <p:cBhvr additive="base">
                                        <p:cTn id="51" dur="500" fill="hold"/>
                                        <p:tgtEl>
                                          <p:spTgt spid="67"/>
                                        </p:tgtEl>
                                        <p:attrNameLst>
                                          <p:attrName>ppt_x</p:attrName>
                                        </p:attrNameLst>
                                      </p:cBhvr>
                                      <p:tavLst>
                                        <p:tav tm="0">
                                          <p:val>
                                            <p:strVal val="1+#ppt_w/2"/>
                                          </p:val>
                                        </p:tav>
                                        <p:tav tm="100000">
                                          <p:val>
                                            <p:strVal val="#ppt_x"/>
                                          </p:val>
                                        </p:tav>
                                      </p:tavLst>
                                    </p:anim>
                                    <p:anim calcmode="lin" valueType="num">
                                      <p:cBhvr additive="base">
                                        <p:cTn id="52" dur="500" fill="hold"/>
                                        <p:tgtEl>
                                          <p:spTgt spid="67"/>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additive="base">
                                        <p:cTn id="55" dur="500" fill="hold"/>
                                        <p:tgtEl>
                                          <p:spTgt spid="43"/>
                                        </p:tgtEl>
                                        <p:attrNameLst>
                                          <p:attrName>ppt_x</p:attrName>
                                        </p:attrNameLst>
                                      </p:cBhvr>
                                      <p:tavLst>
                                        <p:tav tm="0">
                                          <p:val>
                                            <p:strVal val="1+#ppt_w/2"/>
                                          </p:val>
                                        </p:tav>
                                        <p:tav tm="100000">
                                          <p:val>
                                            <p:strVal val="#ppt_x"/>
                                          </p:val>
                                        </p:tav>
                                      </p:tavLst>
                                    </p:anim>
                                    <p:anim calcmode="lin" valueType="num">
                                      <p:cBhvr additive="base">
                                        <p:cTn id="56" dur="500" fill="hold"/>
                                        <p:tgtEl>
                                          <p:spTgt spid="43"/>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33"/>
                                        </p:tgtEl>
                                        <p:attrNameLst>
                                          <p:attrName>style.visibility</p:attrName>
                                        </p:attrNameLst>
                                      </p:cBhvr>
                                      <p:to>
                                        <p:strVal val="visible"/>
                                      </p:to>
                                    </p:set>
                                    <p:anim calcmode="lin" valueType="num">
                                      <p:cBhvr additive="base">
                                        <p:cTn id="59" dur="500" fill="hold"/>
                                        <p:tgtEl>
                                          <p:spTgt spid="33"/>
                                        </p:tgtEl>
                                        <p:attrNameLst>
                                          <p:attrName>ppt_x</p:attrName>
                                        </p:attrNameLst>
                                      </p:cBhvr>
                                      <p:tavLst>
                                        <p:tav tm="0">
                                          <p:val>
                                            <p:strVal val="1+#ppt_w/2"/>
                                          </p:val>
                                        </p:tav>
                                        <p:tav tm="100000">
                                          <p:val>
                                            <p:strVal val="#ppt_x"/>
                                          </p:val>
                                        </p:tav>
                                      </p:tavLst>
                                    </p:anim>
                                    <p:anim calcmode="lin" valueType="num">
                                      <p:cBhvr additive="base">
                                        <p:cTn id="60" dur="500" fill="hold"/>
                                        <p:tgtEl>
                                          <p:spTgt spid="33"/>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90"/>
                                        </p:tgtEl>
                                        <p:attrNameLst>
                                          <p:attrName>style.visibility</p:attrName>
                                        </p:attrNameLst>
                                      </p:cBhvr>
                                      <p:to>
                                        <p:strVal val="visible"/>
                                      </p:to>
                                    </p:set>
                                    <p:anim calcmode="lin" valueType="num">
                                      <p:cBhvr additive="base">
                                        <p:cTn id="63" dur="500" fill="hold"/>
                                        <p:tgtEl>
                                          <p:spTgt spid="90"/>
                                        </p:tgtEl>
                                        <p:attrNameLst>
                                          <p:attrName>ppt_x</p:attrName>
                                        </p:attrNameLst>
                                      </p:cBhvr>
                                      <p:tavLst>
                                        <p:tav tm="0">
                                          <p:val>
                                            <p:strVal val="1+#ppt_w/2"/>
                                          </p:val>
                                        </p:tav>
                                        <p:tav tm="100000">
                                          <p:val>
                                            <p:strVal val="#ppt_x"/>
                                          </p:val>
                                        </p:tav>
                                      </p:tavLst>
                                    </p:anim>
                                    <p:anim calcmode="lin" valueType="num">
                                      <p:cBhvr additive="base">
                                        <p:cTn id="64" dur="500" fill="hold"/>
                                        <p:tgtEl>
                                          <p:spTgt spid="90"/>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88"/>
                                        </p:tgtEl>
                                        <p:attrNameLst>
                                          <p:attrName>style.visibility</p:attrName>
                                        </p:attrNameLst>
                                      </p:cBhvr>
                                      <p:to>
                                        <p:strVal val="visible"/>
                                      </p:to>
                                    </p:set>
                                    <p:anim calcmode="lin" valueType="num">
                                      <p:cBhvr additive="base">
                                        <p:cTn id="67" dur="500" fill="hold"/>
                                        <p:tgtEl>
                                          <p:spTgt spid="88"/>
                                        </p:tgtEl>
                                        <p:attrNameLst>
                                          <p:attrName>ppt_x</p:attrName>
                                        </p:attrNameLst>
                                      </p:cBhvr>
                                      <p:tavLst>
                                        <p:tav tm="0">
                                          <p:val>
                                            <p:strVal val="1+#ppt_w/2"/>
                                          </p:val>
                                        </p:tav>
                                        <p:tav tm="100000">
                                          <p:val>
                                            <p:strVal val="#ppt_x"/>
                                          </p:val>
                                        </p:tav>
                                      </p:tavLst>
                                    </p:anim>
                                    <p:anim calcmode="lin" valueType="num">
                                      <p:cBhvr additive="base">
                                        <p:cTn id="68" dur="500" fill="hold"/>
                                        <p:tgtEl>
                                          <p:spTgt spid="88"/>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
                                        </p:tgtEl>
                                        <p:attrNameLst>
                                          <p:attrName>style.visibility</p:attrName>
                                        </p:attrNameLst>
                                      </p:cBhvr>
                                      <p:to>
                                        <p:strVal val="visible"/>
                                      </p:to>
                                    </p:set>
                                    <p:anim calcmode="lin" valueType="num">
                                      <p:cBhvr additive="base">
                                        <p:cTn id="71" dur="500" fill="hold"/>
                                        <p:tgtEl>
                                          <p:spTgt spid="3"/>
                                        </p:tgtEl>
                                        <p:attrNameLst>
                                          <p:attrName>ppt_x</p:attrName>
                                        </p:attrNameLst>
                                      </p:cBhvr>
                                      <p:tavLst>
                                        <p:tav tm="0">
                                          <p:val>
                                            <p:strVal val="1+#ppt_w/2"/>
                                          </p:val>
                                        </p:tav>
                                        <p:tav tm="100000">
                                          <p:val>
                                            <p:strVal val="#ppt_x"/>
                                          </p:val>
                                        </p:tav>
                                      </p:tavLst>
                                    </p:anim>
                                    <p:anim calcmode="lin" valueType="num">
                                      <p:cBhvr additive="base">
                                        <p:cTn id="72" dur="500" fill="hold"/>
                                        <p:tgtEl>
                                          <p:spTgt spid="3"/>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4"/>
                                        </p:tgtEl>
                                        <p:attrNameLst>
                                          <p:attrName>style.visibility</p:attrName>
                                        </p:attrNameLst>
                                      </p:cBhvr>
                                      <p:to>
                                        <p:strVal val="visible"/>
                                      </p:to>
                                    </p:set>
                                    <p:anim calcmode="lin" valueType="num">
                                      <p:cBhvr additive="base">
                                        <p:cTn id="75" dur="500" fill="hold"/>
                                        <p:tgtEl>
                                          <p:spTgt spid="4"/>
                                        </p:tgtEl>
                                        <p:attrNameLst>
                                          <p:attrName>ppt_x</p:attrName>
                                        </p:attrNameLst>
                                      </p:cBhvr>
                                      <p:tavLst>
                                        <p:tav tm="0">
                                          <p:val>
                                            <p:strVal val="1+#ppt_w/2"/>
                                          </p:val>
                                        </p:tav>
                                        <p:tav tm="100000">
                                          <p:val>
                                            <p:strVal val="#ppt_x"/>
                                          </p:val>
                                        </p:tav>
                                      </p:tavLst>
                                    </p:anim>
                                    <p:anim calcmode="lin" valueType="num">
                                      <p:cBhvr additive="base">
                                        <p:cTn id="76" dur="500" fill="hold"/>
                                        <p:tgtEl>
                                          <p:spTgt spid="4"/>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5"/>
                                        </p:tgtEl>
                                        <p:attrNameLst>
                                          <p:attrName>style.visibility</p:attrName>
                                        </p:attrNameLst>
                                      </p:cBhvr>
                                      <p:to>
                                        <p:strVal val="visible"/>
                                      </p:to>
                                    </p:set>
                                    <p:anim calcmode="lin" valueType="num">
                                      <p:cBhvr additive="base">
                                        <p:cTn id="79" dur="500" fill="hold"/>
                                        <p:tgtEl>
                                          <p:spTgt spid="5"/>
                                        </p:tgtEl>
                                        <p:attrNameLst>
                                          <p:attrName>ppt_x</p:attrName>
                                        </p:attrNameLst>
                                      </p:cBhvr>
                                      <p:tavLst>
                                        <p:tav tm="0">
                                          <p:val>
                                            <p:strVal val="1+#ppt_w/2"/>
                                          </p:val>
                                        </p:tav>
                                        <p:tav tm="100000">
                                          <p:val>
                                            <p:strVal val="#ppt_x"/>
                                          </p:val>
                                        </p:tav>
                                      </p:tavLst>
                                    </p:anim>
                                    <p:anim calcmode="lin" valueType="num">
                                      <p:cBhvr additive="base">
                                        <p:cTn id="80"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4757995" y="1597966"/>
            <a:ext cx="7220898" cy="5027582"/>
          </a:xfrm>
          <a:prstGeom prst="rect">
            <a:avLst/>
          </a:prstGeom>
          <a:no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050" dirty="0">
              <a:solidFill>
                <a:srgbClr val="FFFFFF"/>
              </a:solidFill>
              <a:latin typeface="Times New Roman" panose="02020603050405020304" pitchFamily="18" charset="0"/>
              <a:ea typeface="Times New Roman" panose="02020603050405020304" pitchFamily="18" charset="0"/>
            </a:endParaRPr>
          </a:p>
        </p:txBody>
      </p:sp>
      <p:sp>
        <p:nvSpPr>
          <p:cNvPr id="77" name="TextBox 76"/>
          <p:cNvSpPr txBox="1"/>
          <p:nvPr/>
        </p:nvSpPr>
        <p:spPr>
          <a:xfrm>
            <a:off x="4694237" y="1558555"/>
            <a:ext cx="2051904"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a:t>Azure IoT Suite</a:t>
            </a:r>
          </a:p>
        </p:txBody>
      </p:sp>
      <p:sp>
        <p:nvSpPr>
          <p:cNvPr id="2" name="Title 1"/>
          <p:cNvSpPr>
            <a:spLocks noGrp="1"/>
          </p:cNvSpPr>
          <p:nvPr>
            <p:ph type="title"/>
          </p:nvPr>
        </p:nvSpPr>
        <p:spPr/>
        <p:txBody>
          <a:bodyPr/>
          <a:lstStyle/>
          <a:p>
            <a:r>
              <a:rPr lang="en-US" dirty="0"/>
              <a:t>Azure IoT Suite</a:t>
            </a:r>
          </a:p>
        </p:txBody>
      </p:sp>
      <p:sp>
        <p:nvSpPr>
          <p:cNvPr id="4" name="Rectangle 3"/>
          <p:cNvSpPr/>
          <p:nvPr/>
        </p:nvSpPr>
        <p:spPr>
          <a:xfrm>
            <a:off x="5058741" y="2428889"/>
            <a:ext cx="2444420" cy="372692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dirty="0">
                <a:solidFill>
                  <a:srgbClr val="FFFFFF"/>
                </a:solidFill>
              </a:rPr>
              <a:t>IoT Hub</a:t>
            </a:r>
          </a:p>
        </p:txBody>
      </p:sp>
      <p:sp>
        <p:nvSpPr>
          <p:cNvPr id="8" name="Rectangle 7"/>
          <p:cNvSpPr/>
          <p:nvPr/>
        </p:nvSpPr>
        <p:spPr>
          <a:xfrm>
            <a:off x="2162645" y="3964764"/>
            <a:ext cx="961902" cy="153191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FFFFFF"/>
                </a:solidFill>
              </a:rPr>
              <a:t>Field gateway</a:t>
            </a:r>
          </a:p>
        </p:txBody>
      </p:sp>
      <p:sp>
        <p:nvSpPr>
          <p:cNvPr id="9" name="Rectangle 8"/>
          <p:cNvSpPr/>
          <p:nvPr/>
        </p:nvSpPr>
        <p:spPr>
          <a:xfrm>
            <a:off x="3536719" y="3080126"/>
            <a:ext cx="976747" cy="153191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FFFFFF"/>
                </a:solidFill>
              </a:rPr>
              <a:t>Cloud protocol</a:t>
            </a:r>
          </a:p>
          <a:p>
            <a:pPr algn="ctr"/>
            <a:r>
              <a:rPr lang="en-US" sz="1600" dirty="0">
                <a:solidFill>
                  <a:srgbClr val="FFFFFF"/>
                </a:solidFill>
              </a:rPr>
              <a:t>gateway</a:t>
            </a:r>
          </a:p>
        </p:txBody>
      </p:sp>
      <p:sp>
        <p:nvSpPr>
          <p:cNvPr id="11" name="Rectangle 10"/>
          <p:cNvSpPr/>
          <p:nvPr/>
        </p:nvSpPr>
        <p:spPr>
          <a:xfrm>
            <a:off x="1133169" y="2638102"/>
            <a:ext cx="313519" cy="314134"/>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2" name="Freeform 84"/>
          <p:cNvSpPr>
            <a:spLocks noEditPoints="1"/>
          </p:cNvSpPr>
          <p:nvPr/>
        </p:nvSpPr>
        <p:spPr bwMode="auto">
          <a:xfrm>
            <a:off x="1205064" y="2699617"/>
            <a:ext cx="169729" cy="19110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defTabSz="685345"/>
            <a:endParaRPr lang="en-US" sz="1400">
              <a:solidFill>
                <a:prstClr val="white"/>
              </a:solidFill>
            </a:endParaRPr>
          </a:p>
        </p:txBody>
      </p:sp>
      <p:cxnSp>
        <p:nvCxnSpPr>
          <p:cNvPr id="22" name="Straight Arrow Connector 21"/>
          <p:cNvCxnSpPr/>
          <p:nvPr/>
        </p:nvCxnSpPr>
        <p:spPr>
          <a:xfrm flipV="1">
            <a:off x="1467319" y="2774620"/>
            <a:ext cx="3570887" cy="1105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1467319" y="3556503"/>
            <a:ext cx="2069400" cy="1394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515189" y="3831219"/>
            <a:ext cx="535872"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467319" y="4317167"/>
            <a:ext cx="701979" cy="1022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124795" y="4327390"/>
            <a:ext cx="423897" cy="513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1472924" y="5098220"/>
            <a:ext cx="695850"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131865" y="5098220"/>
            <a:ext cx="1906341" cy="1192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315325" y="2992596"/>
            <a:ext cx="1134157" cy="338554"/>
          </a:xfrm>
          <a:prstGeom prst="rect">
            <a:avLst/>
          </a:prstGeom>
          <a:noFill/>
        </p:spPr>
        <p:txBody>
          <a:bodyPr wrap="none" rtlCol="0">
            <a:spAutoFit/>
          </a:bodyPr>
          <a:lstStyle/>
          <a:p>
            <a:r>
              <a:rPr lang="en-US" sz="1600" dirty="0"/>
              <a:t>IP-capable</a:t>
            </a:r>
          </a:p>
        </p:txBody>
      </p:sp>
      <p:sp>
        <p:nvSpPr>
          <p:cNvPr id="36" name="TextBox 35"/>
          <p:cNvSpPr txBox="1"/>
          <p:nvPr/>
        </p:nvSpPr>
        <p:spPr>
          <a:xfrm rot="16200000">
            <a:off x="213666" y="4561445"/>
            <a:ext cx="1316579" cy="338554"/>
          </a:xfrm>
          <a:prstGeom prst="rect">
            <a:avLst/>
          </a:prstGeom>
          <a:noFill/>
        </p:spPr>
        <p:txBody>
          <a:bodyPr wrap="none" rtlCol="0">
            <a:spAutoFit/>
          </a:bodyPr>
          <a:lstStyle/>
          <a:p>
            <a:r>
              <a:rPr lang="en-US" sz="1600" dirty="0"/>
              <a:t>PAN-devices</a:t>
            </a:r>
          </a:p>
        </p:txBody>
      </p:sp>
      <p:sp>
        <p:nvSpPr>
          <p:cNvPr id="37" name="Rectangle 36"/>
          <p:cNvSpPr/>
          <p:nvPr/>
        </p:nvSpPr>
        <p:spPr>
          <a:xfrm>
            <a:off x="8222120" y="2529892"/>
            <a:ext cx="3116699" cy="117306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Event processing and insight</a:t>
            </a:r>
          </a:p>
          <a:p>
            <a:pPr algn="ctr"/>
            <a:r>
              <a:rPr lang="en-US" dirty="0">
                <a:solidFill>
                  <a:srgbClr val="FFFFFF"/>
                </a:solidFill>
              </a:rPr>
              <a:t>(e.g. Azure Stream Analytics)</a:t>
            </a:r>
          </a:p>
        </p:txBody>
      </p:sp>
      <p:sp>
        <p:nvSpPr>
          <p:cNvPr id="50" name="Right Arrow 49"/>
          <p:cNvSpPr/>
          <p:nvPr/>
        </p:nvSpPr>
        <p:spPr>
          <a:xfrm rot="10800000">
            <a:off x="7538508" y="5614607"/>
            <a:ext cx="548305" cy="391722"/>
          </a:xfrm>
          <a:prstGeom prst="righ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1" name="Left-Right Arrow 50"/>
          <p:cNvSpPr/>
          <p:nvPr/>
        </p:nvSpPr>
        <p:spPr>
          <a:xfrm>
            <a:off x="7543760" y="4141248"/>
            <a:ext cx="593100" cy="451943"/>
          </a:xfrm>
          <a:prstGeom prst="leftRightArrow">
            <a:avLst>
              <a:gd name="adj1" fmla="val 37549"/>
              <a:gd name="adj2" fmla="val 31899"/>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8" name="Rectangle 77"/>
          <p:cNvSpPr/>
          <p:nvPr/>
        </p:nvSpPr>
        <p:spPr>
          <a:xfrm>
            <a:off x="8207679" y="3899414"/>
            <a:ext cx="3116698" cy="96737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Application</a:t>
            </a:r>
          </a:p>
          <a:p>
            <a:pPr algn="ctr"/>
            <a:r>
              <a:rPr lang="en-US" dirty="0">
                <a:solidFill>
                  <a:srgbClr val="FFFFFF"/>
                </a:solidFill>
              </a:rPr>
              <a:t>device runtime logic</a:t>
            </a:r>
          </a:p>
        </p:txBody>
      </p:sp>
      <p:sp>
        <p:nvSpPr>
          <p:cNvPr id="82" name="Right Arrow 81"/>
          <p:cNvSpPr/>
          <p:nvPr/>
        </p:nvSpPr>
        <p:spPr>
          <a:xfrm>
            <a:off x="7556154" y="2966012"/>
            <a:ext cx="580706" cy="391722"/>
          </a:xfrm>
          <a:prstGeom prst="righ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3" name="Rectangle 82"/>
          <p:cNvSpPr/>
          <p:nvPr/>
        </p:nvSpPr>
        <p:spPr>
          <a:xfrm>
            <a:off x="8222120" y="5208884"/>
            <a:ext cx="3116698" cy="96737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Application</a:t>
            </a:r>
          </a:p>
          <a:p>
            <a:pPr algn="ctr"/>
            <a:r>
              <a:rPr lang="en-US" dirty="0">
                <a:solidFill>
                  <a:srgbClr val="FFFFFF"/>
                </a:solidFill>
              </a:rPr>
              <a:t>device provisioning and management</a:t>
            </a:r>
          </a:p>
        </p:txBody>
      </p:sp>
      <p:sp>
        <p:nvSpPr>
          <p:cNvPr id="84" name="Rectangle 83"/>
          <p:cNvSpPr/>
          <p:nvPr/>
        </p:nvSpPr>
        <p:spPr bwMode="auto">
          <a:xfrm>
            <a:off x="1041233" y="2301803"/>
            <a:ext cx="7554418" cy="3957989"/>
          </a:xfrm>
          <a:prstGeom prst="rect">
            <a:avLst/>
          </a:prstGeom>
          <a:noFill/>
          <a:ln w="28575">
            <a:solidFill>
              <a:schemeClr val="accent5"/>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cxnSp>
        <p:nvCxnSpPr>
          <p:cNvPr id="88" name="Straight Connector 87"/>
          <p:cNvCxnSpPr/>
          <p:nvPr/>
        </p:nvCxnSpPr>
        <p:spPr>
          <a:xfrm>
            <a:off x="3292189" y="2419354"/>
            <a:ext cx="0" cy="4114755"/>
          </a:xfrm>
          <a:prstGeom prst="line">
            <a:avLst/>
          </a:prstGeom>
          <a:ln>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292189" y="6180562"/>
            <a:ext cx="869469" cy="517065"/>
          </a:xfrm>
          <a:prstGeom prst="rect">
            <a:avLst/>
          </a:prstGeom>
          <a:noFill/>
        </p:spPr>
        <p:txBody>
          <a:bodyPr wrap="none" lIns="182880" tIns="146304" rIns="182880" bIns="146304" rtlCol="0">
            <a:spAutoFit/>
          </a:bodyPr>
          <a:lstStyle/>
          <a:p>
            <a:pPr>
              <a:lnSpc>
                <a:spcPct val="90000"/>
              </a:lnSpc>
              <a:spcAft>
                <a:spcPts val="600"/>
              </a:spcAft>
            </a:pPr>
            <a:r>
              <a:rPr lang="en-US" sz="1600" dirty="0"/>
              <a:t>cloud</a:t>
            </a:r>
          </a:p>
        </p:txBody>
      </p:sp>
      <p:sp>
        <p:nvSpPr>
          <p:cNvPr id="96" name="TextBox 95"/>
          <p:cNvSpPr txBox="1"/>
          <p:nvPr/>
        </p:nvSpPr>
        <p:spPr>
          <a:xfrm>
            <a:off x="2440285" y="6168353"/>
            <a:ext cx="760465" cy="517065"/>
          </a:xfrm>
          <a:prstGeom prst="rect">
            <a:avLst/>
          </a:prstGeom>
          <a:noFill/>
        </p:spPr>
        <p:txBody>
          <a:bodyPr wrap="none" lIns="182880" tIns="146304" rIns="182880" bIns="146304" rtlCol="0">
            <a:spAutoFit/>
          </a:bodyPr>
          <a:lstStyle/>
          <a:p>
            <a:pPr>
              <a:lnSpc>
                <a:spcPct val="90000"/>
              </a:lnSpc>
              <a:spcAft>
                <a:spcPts val="600"/>
              </a:spcAft>
            </a:pPr>
            <a:r>
              <a:rPr lang="en-US" sz="1600" dirty="0"/>
              <a:t>field</a:t>
            </a:r>
          </a:p>
        </p:txBody>
      </p:sp>
      <p:sp>
        <p:nvSpPr>
          <p:cNvPr id="42" name="Rectangle 41"/>
          <p:cNvSpPr/>
          <p:nvPr/>
        </p:nvSpPr>
        <p:spPr>
          <a:xfrm>
            <a:off x="1133169" y="3399706"/>
            <a:ext cx="313519" cy="314134"/>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3" name="Freeform 84"/>
          <p:cNvSpPr>
            <a:spLocks noEditPoints="1"/>
          </p:cNvSpPr>
          <p:nvPr/>
        </p:nvSpPr>
        <p:spPr bwMode="auto">
          <a:xfrm>
            <a:off x="1205064" y="3461221"/>
            <a:ext cx="169729" cy="19110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defTabSz="685345"/>
            <a:endParaRPr lang="en-US" sz="1400">
              <a:solidFill>
                <a:prstClr val="white"/>
              </a:solidFill>
            </a:endParaRPr>
          </a:p>
        </p:txBody>
      </p:sp>
      <p:sp>
        <p:nvSpPr>
          <p:cNvPr id="45" name="Rectangle 44"/>
          <p:cNvSpPr/>
          <p:nvPr/>
        </p:nvSpPr>
        <p:spPr>
          <a:xfrm>
            <a:off x="1126643" y="4159978"/>
            <a:ext cx="313519" cy="314134"/>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6" name="Freeform 84"/>
          <p:cNvSpPr>
            <a:spLocks noEditPoints="1"/>
          </p:cNvSpPr>
          <p:nvPr/>
        </p:nvSpPr>
        <p:spPr bwMode="auto">
          <a:xfrm>
            <a:off x="1198538" y="4221493"/>
            <a:ext cx="169729" cy="19110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defTabSz="685345"/>
            <a:endParaRPr lang="en-US" sz="1400">
              <a:solidFill>
                <a:prstClr val="white"/>
              </a:solidFill>
            </a:endParaRPr>
          </a:p>
        </p:txBody>
      </p:sp>
      <p:sp>
        <p:nvSpPr>
          <p:cNvPr id="48" name="Rectangle 47"/>
          <p:cNvSpPr/>
          <p:nvPr/>
        </p:nvSpPr>
        <p:spPr>
          <a:xfrm>
            <a:off x="1124059" y="4953075"/>
            <a:ext cx="313519" cy="314134"/>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9" name="Freeform 84"/>
          <p:cNvSpPr>
            <a:spLocks noEditPoints="1"/>
          </p:cNvSpPr>
          <p:nvPr/>
        </p:nvSpPr>
        <p:spPr bwMode="auto">
          <a:xfrm>
            <a:off x="1195954" y="5014590"/>
            <a:ext cx="169729" cy="19110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pPr defTabSz="685345"/>
            <a:endParaRPr lang="en-US" sz="1400">
              <a:solidFill>
                <a:prstClr val="white"/>
              </a:solidFill>
            </a:endParaRPr>
          </a:p>
        </p:txBody>
      </p:sp>
      <p:grpSp>
        <p:nvGrpSpPr>
          <p:cNvPr id="38" name="Group 37"/>
          <p:cNvGrpSpPr/>
          <p:nvPr/>
        </p:nvGrpSpPr>
        <p:grpSpPr>
          <a:xfrm>
            <a:off x="3932262" y="2857189"/>
            <a:ext cx="1371585" cy="1554464"/>
            <a:chOff x="1829165" y="3680140"/>
            <a:chExt cx="1371585" cy="1554464"/>
          </a:xfrm>
        </p:grpSpPr>
        <p:sp>
          <p:nvSpPr>
            <p:cNvPr id="39" name="Rectangle 38"/>
            <p:cNvSpPr/>
            <p:nvPr/>
          </p:nvSpPr>
          <p:spPr bwMode="auto">
            <a:xfrm>
              <a:off x="1829165" y="3680140"/>
              <a:ext cx="1371585" cy="1554464"/>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Device </a:t>
              </a:r>
              <a:r>
                <a:rPr lang="en-US" sz="1400" i="1" dirty="0">
                  <a:gradFill>
                    <a:gsLst>
                      <a:gs pos="16814">
                        <a:srgbClr val="FFFFFF"/>
                      </a:gs>
                      <a:gs pos="46000">
                        <a:srgbClr val="FFFFFF"/>
                      </a:gs>
                    </a:gsLst>
                    <a:lin ang="5400000" scaled="0"/>
                  </a:gradFill>
                </a:rPr>
                <a:t>id</a:t>
              </a:r>
            </a:p>
          </p:txBody>
        </p:sp>
        <p:sp>
          <p:nvSpPr>
            <p:cNvPr id="40" name="Rectangle 39"/>
            <p:cNvSpPr/>
            <p:nvPr/>
          </p:nvSpPr>
          <p:spPr bwMode="auto">
            <a:xfrm>
              <a:off x="2012042" y="4594530"/>
              <a:ext cx="1005829" cy="457195"/>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200" dirty="0">
                  <a:gradFill>
                    <a:gsLst>
                      <a:gs pos="16814">
                        <a:srgbClr val="FFFFFF"/>
                      </a:gs>
                      <a:gs pos="46000">
                        <a:srgbClr val="FFFFFF"/>
                      </a:gs>
                    </a:gsLst>
                    <a:lin ang="5400000" scaled="0"/>
                  </a:gradFill>
                </a:rPr>
                <a:t>C2D queue</a:t>
              </a:r>
            </a:p>
            <a:p>
              <a:pPr algn="ctr" defTabSz="932398" fontAlgn="base">
                <a:spcBef>
                  <a:spcPct val="0"/>
                </a:spcBef>
                <a:spcAft>
                  <a:spcPct val="0"/>
                </a:spcAft>
              </a:pPr>
              <a:r>
                <a:rPr lang="en-US" sz="1200" dirty="0">
                  <a:gradFill>
                    <a:gsLst>
                      <a:gs pos="16814">
                        <a:srgbClr val="FFFFFF"/>
                      </a:gs>
                      <a:gs pos="46000">
                        <a:srgbClr val="FFFFFF"/>
                      </a:gs>
                    </a:gsLst>
                    <a:lin ang="5400000" scaled="0"/>
                  </a:gradFill>
                </a:rPr>
                <a:t>endpoint</a:t>
              </a:r>
            </a:p>
          </p:txBody>
        </p:sp>
        <p:sp>
          <p:nvSpPr>
            <p:cNvPr id="41" name="Rectangle 40"/>
            <p:cNvSpPr/>
            <p:nvPr/>
          </p:nvSpPr>
          <p:spPr bwMode="auto">
            <a:xfrm>
              <a:off x="2012041" y="4045896"/>
              <a:ext cx="1005829" cy="457195"/>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200" dirty="0">
                  <a:gradFill>
                    <a:gsLst>
                      <a:gs pos="16814">
                        <a:srgbClr val="FFFFFF"/>
                      </a:gs>
                      <a:gs pos="46000">
                        <a:srgbClr val="FFFFFF"/>
                      </a:gs>
                    </a:gsLst>
                    <a:lin ang="5400000" scaled="0"/>
                  </a:gradFill>
                </a:rPr>
                <a:t>D2C send endpoint</a:t>
              </a:r>
            </a:p>
          </p:txBody>
        </p:sp>
      </p:grpSp>
      <p:sp>
        <p:nvSpPr>
          <p:cNvPr id="44" name="Rectangle 43"/>
          <p:cNvSpPr/>
          <p:nvPr/>
        </p:nvSpPr>
        <p:spPr bwMode="auto">
          <a:xfrm>
            <a:off x="3932262" y="4594530"/>
            <a:ext cx="1371585" cy="365757"/>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Device </a:t>
            </a:r>
            <a:r>
              <a:rPr lang="en-US" sz="1400" i="1" dirty="0">
                <a:gradFill>
                  <a:gsLst>
                    <a:gs pos="16814">
                      <a:srgbClr val="FFFFFF"/>
                    </a:gs>
                    <a:gs pos="46000">
                      <a:srgbClr val="FFFFFF"/>
                    </a:gs>
                  </a:gsLst>
                  <a:lin ang="5400000" scaled="0"/>
                </a:gradFill>
              </a:rPr>
              <a:t>…</a:t>
            </a:r>
          </a:p>
        </p:txBody>
      </p:sp>
      <p:sp>
        <p:nvSpPr>
          <p:cNvPr id="47" name="Rectangle 46"/>
          <p:cNvSpPr/>
          <p:nvPr/>
        </p:nvSpPr>
        <p:spPr bwMode="auto">
          <a:xfrm>
            <a:off x="3932262" y="5076794"/>
            <a:ext cx="1371585" cy="365757"/>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Device </a:t>
            </a:r>
            <a:r>
              <a:rPr lang="en-US" sz="1400" i="1" dirty="0">
                <a:gradFill>
                  <a:gsLst>
                    <a:gs pos="16814">
                      <a:srgbClr val="FFFFFF"/>
                    </a:gs>
                    <a:gs pos="46000">
                      <a:srgbClr val="FFFFFF"/>
                    </a:gs>
                  </a:gsLst>
                  <a:lin ang="5400000" scaled="0"/>
                </a:gradFill>
              </a:rPr>
              <a:t>…</a:t>
            </a:r>
          </a:p>
        </p:txBody>
      </p:sp>
      <p:sp>
        <p:nvSpPr>
          <p:cNvPr id="52" name="Rectangle 51"/>
          <p:cNvSpPr/>
          <p:nvPr/>
        </p:nvSpPr>
        <p:spPr bwMode="auto">
          <a:xfrm>
            <a:off x="3932259" y="5517920"/>
            <a:ext cx="1371585" cy="365757"/>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Device </a:t>
            </a:r>
            <a:r>
              <a:rPr lang="en-US" sz="1400" i="1" dirty="0">
                <a:gradFill>
                  <a:gsLst>
                    <a:gs pos="16814">
                      <a:srgbClr val="FFFFFF"/>
                    </a:gs>
                    <a:gs pos="46000">
                      <a:srgbClr val="FFFFFF"/>
                    </a:gs>
                  </a:gsLst>
                  <a:lin ang="5400000" scaled="0"/>
                </a:gradFill>
              </a:rPr>
              <a:t>…</a:t>
            </a:r>
          </a:p>
        </p:txBody>
      </p:sp>
      <p:sp>
        <p:nvSpPr>
          <p:cNvPr id="53" name="Rectangle 52"/>
          <p:cNvSpPr/>
          <p:nvPr/>
        </p:nvSpPr>
        <p:spPr bwMode="auto">
          <a:xfrm>
            <a:off x="6949749" y="2857189"/>
            <a:ext cx="1371585" cy="855791"/>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D2C receive endpoint</a:t>
            </a:r>
            <a:endParaRPr lang="en-US" sz="1400" i="1" dirty="0">
              <a:gradFill>
                <a:gsLst>
                  <a:gs pos="16814">
                    <a:srgbClr val="FFFFFF"/>
                  </a:gs>
                  <a:gs pos="46000">
                    <a:srgbClr val="FFFFFF"/>
                  </a:gs>
                </a:gsLst>
                <a:lin ang="5400000" scaled="0"/>
              </a:gradFill>
            </a:endParaRPr>
          </a:p>
        </p:txBody>
      </p:sp>
      <p:sp>
        <p:nvSpPr>
          <p:cNvPr id="54" name="Rectangle 53"/>
          <p:cNvSpPr/>
          <p:nvPr/>
        </p:nvSpPr>
        <p:spPr bwMode="auto">
          <a:xfrm>
            <a:off x="6949749" y="3771578"/>
            <a:ext cx="1371585" cy="593466"/>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C2D send endpoint</a:t>
            </a:r>
            <a:endParaRPr lang="en-US" sz="1400" i="1" dirty="0">
              <a:gradFill>
                <a:gsLst>
                  <a:gs pos="16814">
                    <a:srgbClr val="FFFFFF"/>
                  </a:gs>
                  <a:gs pos="46000">
                    <a:srgbClr val="FFFFFF"/>
                  </a:gs>
                </a:gsLst>
                <a:lin ang="5400000" scaled="0"/>
              </a:gradFill>
            </a:endParaRPr>
          </a:p>
        </p:txBody>
      </p:sp>
      <p:sp>
        <p:nvSpPr>
          <p:cNvPr id="55" name="Rectangle 54"/>
          <p:cNvSpPr/>
          <p:nvPr/>
        </p:nvSpPr>
        <p:spPr bwMode="auto">
          <a:xfrm>
            <a:off x="6949748" y="4411652"/>
            <a:ext cx="1371585" cy="777229"/>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err="1">
                <a:gradFill>
                  <a:gsLst>
                    <a:gs pos="16814">
                      <a:srgbClr val="FFFFFF"/>
                    </a:gs>
                    <a:gs pos="46000">
                      <a:srgbClr val="FFFFFF"/>
                    </a:gs>
                  </a:gsLst>
                  <a:lin ang="5400000" scaled="0"/>
                </a:gradFill>
              </a:rPr>
              <a:t>Msg</a:t>
            </a:r>
            <a:r>
              <a:rPr lang="en-US" sz="1400" dirty="0">
                <a:gradFill>
                  <a:gsLst>
                    <a:gs pos="16814">
                      <a:srgbClr val="FFFFFF"/>
                    </a:gs>
                    <a:gs pos="46000">
                      <a:srgbClr val="FFFFFF"/>
                    </a:gs>
                  </a:gsLst>
                  <a:lin ang="5400000" scaled="0"/>
                </a:gradFill>
              </a:rPr>
              <a:t> feedback and monitoring endpoint</a:t>
            </a:r>
          </a:p>
        </p:txBody>
      </p:sp>
      <p:sp>
        <p:nvSpPr>
          <p:cNvPr id="56" name="Rectangle 55"/>
          <p:cNvSpPr/>
          <p:nvPr/>
        </p:nvSpPr>
        <p:spPr bwMode="auto">
          <a:xfrm>
            <a:off x="6949747" y="5259672"/>
            <a:ext cx="1371585" cy="641746"/>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Device identity management</a:t>
            </a:r>
          </a:p>
        </p:txBody>
      </p:sp>
      <p:sp>
        <p:nvSpPr>
          <p:cNvPr id="57" name="Rectangle 56"/>
          <p:cNvSpPr/>
          <p:nvPr/>
        </p:nvSpPr>
        <p:spPr bwMode="auto">
          <a:xfrm>
            <a:off x="5443224" y="5442551"/>
            <a:ext cx="1371585" cy="641746"/>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IoT Hub management</a:t>
            </a:r>
          </a:p>
        </p:txBody>
      </p:sp>
    </p:spTree>
    <p:extLst>
      <p:ext uri="{BB962C8B-B14F-4D97-AF65-F5344CB8AC3E}">
        <p14:creationId xmlns:p14="http://schemas.microsoft.com/office/powerpoint/2010/main" val="5425155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82"/>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7"/>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51"/>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78"/>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5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83"/>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84"/>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38"/>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44"/>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47"/>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52"/>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53"/>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54"/>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55"/>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56"/>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57"/>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38"/>
                                        </p:tgtEl>
                                        <p:attrNameLst>
                                          <p:attrName>style.visibility</p:attrName>
                                        </p:attrNameLst>
                                      </p:cBhvr>
                                      <p:to>
                                        <p:strVal val="visible"/>
                                      </p:to>
                                    </p:set>
                                  </p:childTnLst>
                                </p:cTn>
                              </p:par>
                              <p:par>
                                <p:cTn id="95" presetID="1" presetClass="entr" presetSubtype="0" fill="hold" grpId="1" nodeType="withEffect">
                                  <p:stCondLst>
                                    <p:cond delay="0"/>
                                  </p:stCondLst>
                                  <p:childTnLst>
                                    <p:set>
                                      <p:cBhvr>
                                        <p:cTn id="96" dur="1" fill="hold">
                                          <p:stCondLst>
                                            <p:cond delay="0"/>
                                          </p:stCondLst>
                                        </p:cTn>
                                        <p:tgtEl>
                                          <p:spTgt spid="44"/>
                                        </p:tgtEl>
                                        <p:attrNameLst>
                                          <p:attrName>style.visibility</p:attrName>
                                        </p:attrNameLst>
                                      </p:cBhvr>
                                      <p:to>
                                        <p:strVal val="visible"/>
                                      </p:to>
                                    </p:set>
                                  </p:childTnLst>
                                </p:cTn>
                              </p:par>
                              <p:par>
                                <p:cTn id="97" presetID="1" presetClass="entr" presetSubtype="0" fill="hold" grpId="1" nodeType="withEffect">
                                  <p:stCondLst>
                                    <p:cond delay="0"/>
                                  </p:stCondLst>
                                  <p:childTnLst>
                                    <p:set>
                                      <p:cBhvr>
                                        <p:cTn id="98" dur="1" fill="hold">
                                          <p:stCondLst>
                                            <p:cond delay="0"/>
                                          </p:stCondLst>
                                        </p:cTn>
                                        <p:tgtEl>
                                          <p:spTgt spid="47"/>
                                        </p:tgtEl>
                                        <p:attrNameLst>
                                          <p:attrName>style.visibility</p:attrName>
                                        </p:attrNameLst>
                                      </p:cBhvr>
                                      <p:to>
                                        <p:strVal val="visible"/>
                                      </p:to>
                                    </p:set>
                                  </p:childTnLst>
                                </p:cTn>
                              </p:par>
                              <p:par>
                                <p:cTn id="99" presetID="1" presetClass="entr" presetSubtype="0" fill="hold" grpId="1" nodeType="withEffect">
                                  <p:stCondLst>
                                    <p:cond delay="0"/>
                                  </p:stCondLst>
                                  <p:childTnLst>
                                    <p:set>
                                      <p:cBhvr>
                                        <p:cTn id="100" dur="1" fill="hold">
                                          <p:stCondLst>
                                            <p:cond delay="0"/>
                                          </p:stCondLst>
                                        </p:cTn>
                                        <p:tgtEl>
                                          <p:spTgt spid="52"/>
                                        </p:tgtEl>
                                        <p:attrNameLst>
                                          <p:attrName>style.visibility</p:attrName>
                                        </p:attrNameLst>
                                      </p:cBhvr>
                                      <p:to>
                                        <p:strVal val="visible"/>
                                      </p:to>
                                    </p:set>
                                  </p:childTnLst>
                                </p:cTn>
                              </p:par>
                              <p:par>
                                <p:cTn id="101" presetID="1" presetClass="entr" presetSubtype="0" fill="hold" grpId="1" nodeType="withEffect">
                                  <p:stCondLst>
                                    <p:cond delay="0"/>
                                  </p:stCondLst>
                                  <p:childTnLst>
                                    <p:set>
                                      <p:cBhvr>
                                        <p:cTn id="102" dur="1" fill="hold">
                                          <p:stCondLst>
                                            <p:cond delay="0"/>
                                          </p:stCondLst>
                                        </p:cTn>
                                        <p:tgtEl>
                                          <p:spTgt spid="53"/>
                                        </p:tgtEl>
                                        <p:attrNameLst>
                                          <p:attrName>style.visibility</p:attrName>
                                        </p:attrNameLst>
                                      </p:cBhvr>
                                      <p:to>
                                        <p:strVal val="visible"/>
                                      </p:to>
                                    </p:set>
                                  </p:childTnLst>
                                </p:cTn>
                              </p:par>
                              <p:par>
                                <p:cTn id="103" presetID="1" presetClass="entr" presetSubtype="0" fill="hold" grpId="1" nodeType="withEffect">
                                  <p:stCondLst>
                                    <p:cond delay="0"/>
                                  </p:stCondLst>
                                  <p:childTnLst>
                                    <p:set>
                                      <p:cBhvr>
                                        <p:cTn id="104" dur="1" fill="hold">
                                          <p:stCondLst>
                                            <p:cond delay="0"/>
                                          </p:stCondLst>
                                        </p:cTn>
                                        <p:tgtEl>
                                          <p:spTgt spid="54"/>
                                        </p:tgtEl>
                                        <p:attrNameLst>
                                          <p:attrName>style.visibility</p:attrName>
                                        </p:attrNameLst>
                                      </p:cBhvr>
                                      <p:to>
                                        <p:strVal val="visible"/>
                                      </p:to>
                                    </p:set>
                                  </p:childTnLst>
                                </p:cTn>
                              </p:par>
                              <p:par>
                                <p:cTn id="105" presetID="1" presetClass="entr" presetSubtype="0" fill="hold" grpId="1" nodeType="withEffect">
                                  <p:stCondLst>
                                    <p:cond delay="0"/>
                                  </p:stCondLst>
                                  <p:childTnLst>
                                    <p:set>
                                      <p:cBhvr>
                                        <p:cTn id="106" dur="1" fill="hold">
                                          <p:stCondLst>
                                            <p:cond delay="0"/>
                                          </p:stCondLst>
                                        </p:cTn>
                                        <p:tgtEl>
                                          <p:spTgt spid="55"/>
                                        </p:tgtEl>
                                        <p:attrNameLst>
                                          <p:attrName>style.visibility</p:attrName>
                                        </p:attrNameLst>
                                      </p:cBhvr>
                                      <p:to>
                                        <p:strVal val="visible"/>
                                      </p:to>
                                    </p:set>
                                  </p:childTnLst>
                                </p:cTn>
                              </p:par>
                              <p:par>
                                <p:cTn id="107" presetID="1" presetClass="entr" presetSubtype="0" fill="hold" grpId="1" nodeType="withEffect">
                                  <p:stCondLst>
                                    <p:cond delay="0"/>
                                  </p:stCondLst>
                                  <p:childTnLst>
                                    <p:set>
                                      <p:cBhvr>
                                        <p:cTn id="108" dur="1" fill="hold">
                                          <p:stCondLst>
                                            <p:cond delay="0"/>
                                          </p:stCondLst>
                                        </p:cTn>
                                        <p:tgtEl>
                                          <p:spTgt spid="56"/>
                                        </p:tgtEl>
                                        <p:attrNameLst>
                                          <p:attrName>style.visibility</p:attrName>
                                        </p:attrNameLst>
                                      </p:cBhvr>
                                      <p:to>
                                        <p:strVal val="visible"/>
                                      </p:to>
                                    </p:set>
                                  </p:childTnLst>
                                </p:cTn>
                              </p:par>
                              <p:par>
                                <p:cTn id="109" presetID="1" presetClass="entr" presetSubtype="0" fill="hold" grpId="1" nodeType="withEffect">
                                  <p:stCondLst>
                                    <p:cond delay="0"/>
                                  </p:stCondLst>
                                  <p:childTnLst>
                                    <p:set>
                                      <p:cBhvr>
                                        <p:cTn id="110"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p:bldP spid="4" grpId="0" animBg="1"/>
      <p:bldP spid="8" grpId="0" animBg="1"/>
      <p:bldP spid="9" grpId="0" animBg="1"/>
      <p:bldP spid="35" grpId="0"/>
      <p:bldP spid="36" grpId="0"/>
      <p:bldP spid="37" grpId="0" animBg="1"/>
      <p:bldP spid="50" grpId="0" animBg="1"/>
      <p:bldP spid="51" grpId="0" animBg="1"/>
      <p:bldP spid="78" grpId="0" animBg="1"/>
      <p:bldP spid="82" grpId="0" animBg="1"/>
      <p:bldP spid="83" grpId="0" animBg="1"/>
      <p:bldP spid="84" grpId="0" animBg="1"/>
      <p:bldP spid="95" grpId="0"/>
      <p:bldP spid="96" grpId="0"/>
      <p:bldP spid="44" grpId="0" animBg="1"/>
      <p:bldP spid="44" grpId="1" animBg="1"/>
      <p:bldP spid="47" grpId="0" animBg="1"/>
      <p:bldP spid="47" grpId="1" animBg="1"/>
      <p:bldP spid="52" grpId="0" animBg="1"/>
      <p:bldP spid="52" grpId="1" animBg="1"/>
      <p:bldP spid="53" grpId="0" animBg="1"/>
      <p:bldP spid="53" grpId="1" animBg="1"/>
      <p:bldP spid="54" grpId="0" animBg="1"/>
      <p:bldP spid="54" grpId="1" animBg="1"/>
      <p:bldP spid="55" grpId="0" animBg="1"/>
      <p:bldP spid="55" grpId="1" animBg="1"/>
      <p:bldP spid="56" grpId="0" animBg="1"/>
      <p:bldP spid="56" grpId="1" animBg="1"/>
      <p:bldP spid="57" grpId="0" animBg="1"/>
      <p:bldP spid="57"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10256837" y="1668482"/>
            <a:ext cx="1907366" cy="4103974"/>
          </a:xfrm>
          <a:prstGeom prst="rect">
            <a:avLst/>
          </a:prstGeom>
          <a:noFill/>
          <a:ln w="254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050" dirty="0">
              <a:solidFill>
                <a:srgbClr val="FFFFFF"/>
              </a:solidFill>
              <a:latin typeface="Times New Roman" panose="02020603050405020304" pitchFamily="18" charset="0"/>
              <a:ea typeface="Times New Roman" panose="02020603050405020304" pitchFamily="18" charset="0"/>
            </a:endParaRPr>
          </a:p>
        </p:txBody>
      </p:sp>
      <p:sp>
        <p:nvSpPr>
          <p:cNvPr id="2" name="Title 1"/>
          <p:cNvSpPr>
            <a:spLocks noGrp="1"/>
          </p:cNvSpPr>
          <p:nvPr>
            <p:ph type="title"/>
          </p:nvPr>
        </p:nvSpPr>
        <p:spPr/>
        <p:txBody>
          <a:bodyPr/>
          <a:lstStyle/>
          <a:p>
            <a:r>
              <a:rPr lang="en-US" dirty="0"/>
              <a:t>Many aspects of connectivity</a:t>
            </a:r>
          </a:p>
        </p:txBody>
      </p:sp>
      <p:sp>
        <p:nvSpPr>
          <p:cNvPr id="32" name="Text Placeholder 31"/>
          <p:cNvSpPr>
            <a:spLocks noGrp="1"/>
          </p:cNvSpPr>
          <p:nvPr>
            <p:ph type="body" sz="quarter" idx="10"/>
          </p:nvPr>
        </p:nvSpPr>
        <p:spPr>
          <a:xfrm>
            <a:off x="274640" y="1212849"/>
            <a:ext cx="5486399" cy="5595378"/>
          </a:xfrm>
        </p:spPr>
        <p:txBody>
          <a:bodyPr/>
          <a:lstStyle/>
          <a:p>
            <a:r>
              <a:rPr lang="en-US" sz="2800" dirty="0"/>
              <a:t>Functionality</a:t>
            </a:r>
          </a:p>
          <a:p>
            <a:pPr lvl="1"/>
            <a:r>
              <a:rPr lang="en-US" sz="1800" dirty="0"/>
              <a:t>Device-to-cloud telemetry,</a:t>
            </a:r>
          </a:p>
          <a:p>
            <a:pPr lvl="1"/>
            <a:r>
              <a:rPr lang="en-US" sz="1800" dirty="0"/>
              <a:t>Cloud-to-device commands and notifications,</a:t>
            </a:r>
          </a:p>
          <a:p>
            <a:pPr lvl="1"/>
            <a:r>
              <a:rPr lang="en-US" sz="1800" dirty="0"/>
              <a:t>Bulk uploads/downloads</a:t>
            </a:r>
          </a:p>
          <a:p>
            <a:r>
              <a:rPr lang="en-US" sz="2800" dirty="0"/>
              <a:t>Security</a:t>
            </a:r>
          </a:p>
          <a:p>
            <a:pPr lvl="1"/>
            <a:r>
              <a:rPr lang="en-US" sz="1800" dirty="0"/>
              <a:t>Device security,</a:t>
            </a:r>
          </a:p>
          <a:p>
            <a:pPr lvl="1"/>
            <a:r>
              <a:rPr lang="en-US" sz="1800" dirty="0"/>
              <a:t>Cloud security,</a:t>
            </a:r>
          </a:p>
          <a:p>
            <a:pPr lvl="1"/>
            <a:r>
              <a:rPr lang="en-US" sz="1800" dirty="0"/>
              <a:t>Channel security, …</a:t>
            </a:r>
          </a:p>
          <a:p>
            <a:r>
              <a:rPr lang="en-US" sz="2800" dirty="0"/>
              <a:t>Monitoring</a:t>
            </a:r>
          </a:p>
          <a:p>
            <a:pPr lvl="1"/>
            <a:r>
              <a:rPr lang="en-US" sz="1800" dirty="0"/>
              <a:t>Identify malfunctioning devices when they cannot be reached directly</a:t>
            </a:r>
          </a:p>
          <a:p>
            <a:r>
              <a:rPr lang="en-US" sz="2800" dirty="0"/>
              <a:t>Reach and customization</a:t>
            </a:r>
          </a:p>
          <a:p>
            <a:pPr lvl="1"/>
            <a:r>
              <a:rPr lang="en-US" sz="1800" dirty="0"/>
              <a:t>RTOS/Linux/Windows/non-IP capable,</a:t>
            </a:r>
          </a:p>
          <a:p>
            <a:pPr lvl="1"/>
            <a:r>
              <a:rPr lang="en-US" sz="1800" dirty="0"/>
              <a:t>Network/application protocols,</a:t>
            </a:r>
          </a:p>
          <a:p>
            <a:pPr lvl="1"/>
            <a:r>
              <a:rPr lang="en-US" sz="1800" dirty="0"/>
              <a:t>Authentication schemes</a:t>
            </a:r>
          </a:p>
        </p:txBody>
      </p:sp>
      <p:grpSp>
        <p:nvGrpSpPr>
          <p:cNvPr id="4" name="Canvas 1"/>
          <p:cNvGrpSpPr/>
          <p:nvPr/>
        </p:nvGrpSpPr>
        <p:grpSpPr>
          <a:xfrm>
            <a:off x="5396807" y="2442935"/>
            <a:ext cx="6312243" cy="3106531"/>
            <a:chOff x="0" y="0"/>
            <a:chExt cx="5486400" cy="2943225"/>
          </a:xfrm>
        </p:grpSpPr>
        <p:sp>
          <p:nvSpPr>
            <p:cNvPr id="5" name="Rectangle 4"/>
            <p:cNvSpPr/>
            <p:nvPr/>
          </p:nvSpPr>
          <p:spPr>
            <a:xfrm>
              <a:off x="0" y="0"/>
              <a:ext cx="5486400" cy="2943225"/>
            </a:xfrm>
            <a:prstGeom prst="rect">
              <a:avLst/>
            </a:prstGeom>
          </p:spPr>
        </p:sp>
        <p:sp>
          <p:nvSpPr>
            <p:cNvPr id="6" name="Rectangle 5"/>
            <p:cNvSpPr/>
            <p:nvPr/>
          </p:nvSpPr>
          <p:spPr>
            <a:xfrm>
              <a:off x="4502071" y="0"/>
              <a:ext cx="984329" cy="287131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dirty="0">
                  <a:solidFill>
                    <a:srgbClr val="FFFFFF"/>
                  </a:solidFill>
                  <a:ea typeface="Times New Roman" panose="02020603050405020304" pitchFamily="18" charset="0"/>
                  <a:cs typeface="Times New Roman" panose="02020603050405020304" pitchFamily="18" charset="0"/>
                </a:rPr>
                <a:t>IoT Hub</a:t>
              </a:r>
              <a:endParaRPr lang="en-US" sz="1050" dirty="0">
                <a:solidFill>
                  <a:srgbClr val="FFFFFF"/>
                </a:solidFill>
                <a:latin typeface="Times New Roman" panose="02020603050405020304" pitchFamily="18" charset="0"/>
                <a:ea typeface="Times New Roman" panose="02020603050405020304" pitchFamily="18" charset="0"/>
              </a:endParaRPr>
            </a:p>
          </p:txBody>
        </p:sp>
        <p:sp>
          <p:nvSpPr>
            <p:cNvPr id="7" name="Rectangle 6"/>
            <p:cNvSpPr/>
            <p:nvPr/>
          </p:nvSpPr>
          <p:spPr>
            <a:xfrm>
              <a:off x="1613838" y="1343558"/>
              <a:ext cx="959290" cy="152775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ea typeface="Times New Roman" panose="02020603050405020304" pitchFamily="18" charset="0"/>
                  <a:cs typeface="Times New Roman" panose="02020603050405020304" pitchFamily="18" charset="0"/>
                </a:rPr>
                <a:t>Field gateways</a:t>
              </a:r>
              <a:endParaRPr lang="en-US" sz="1050" dirty="0">
                <a:solidFill>
                  <a:srgbClr val="FFFFFF"/>
                </a:solidFill>
                <a:latin typeface="Times New Roman" panose="02020603050405020304" pitchFamily="18" charset="0"/>
                <a:ea typeface="Times New Roman" panose="02020603050405020304" pitchFamily="18" charset="0"/>
              </a:endParaRPr>
            </a:p>
          </p:txBody>
        </p:sp>
        <p:sp>
          <p:nvSpPr>
            <p:cNvPr id="8" name="Rectangle 7"/>
            <p:cNvSpPr/>
            <p:nvPr/>
          </p:nvSpPr>
          <p:spPr>
            <a:xfrm>
              <a:off x="2984181" y="461322"/>
              <a:ext cx="974095" cy="152775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ea typeface="Times New Roman" panose="02020603050405020304" pitchFamily="18" charset="0"/>
                  <a:cs typeface="Times New Roman" panose="02020603050405020304" pitchFamily="18" charset="0"/>
                </a:rPr>
                <a:t>Cloud protocol</a:t>
              </a:r>
              <a:endParaRPr lang="en-US" sz="1050" dirty="0">
                <a:solidFill>
                  <a:srgbClr val="FFFFFF"/>
                </a:solidFill>
                <a:latin typeface="Times New Roman" panose="02020603050405020304" pitchFamily="18" charset="0"/>
                <a:ea typeface="Times New Roman" panose="02020603050405020304" pitchFamily="18" charset="0"/>
              </a:endParaRPr>
            </a:p>
            <a:p>
              <a:pPr algn="ctr"/>
              <a:r>
                <a:rPr lang="en-US" sz="1200" dirty="0">
                  <a:solidFill>
                    <a:srgbClr val="FFFFFF"/>
                  </a:solidFill>
                  <a:ea typeface="Times New Roman" panose="02020603050405020304" pitchFamily="18" charset="0"/>
                  <a:cs typeface="Times New Roman" panose="02020603050405020304" pitchFamily="18" charset="0"/>
                </a:rPr>
                <a:t>gateways</a:t>
              </a:r>
              <a:endParaRPr lang="en-US" sz="1050" dirty="0">
                <a:solidFill>
                  <a:srgbClr val="FFFFFF"/>
                </a:solidFill>
                <a:latin typeface="Times New Roman" panose="02020603050405020304" pitchFamily="18" charset="0"/>
                <a:ea typeface="Times New Roman" panose="02020603050405020304" pitchFamily="18" charset="0"/>
              </a:endParaRPr>
            </a:p>
          </p:txBody>
        </p:sp>
        <p:grpSp>
          <p:nvGrpSpPr>
            <p:cNvPr id="9" name="Group 8"/>
            <p:cNvGrpSpPr/>
            <p:nvPr/>
          </p:nvGrpSpPr>
          <p:grpSpPr>
            <a:xfrm>
              <a:off x="575846" y="1"/>
              <a:ext cx="312668" cy="313281"/>
              <a:chOff x="577414" y="1"/>
              <a:chExt cx="395416" cy="395416"/>
            </a:xfrm>
          </p:grpSpPr>
          <p:sp>
            <p:nvSpPr>
              <p:cNvPr id="30" name="Rectangle 29"/>
              <p:cNvSpPr/>
              <p:nvPr/>
            </p:nvSpPr>
            <p:spPr>
              <a:xfrm>
                <a:off x="577414" y="1"/>
                <a:ext cx="395416" cy="395416"/>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a:solidFill>
                    <a:srgbClr val="FFFFFF"/>
                  </a:solidFill>
                </a:endParaRPr>
              </a:p>
            </p:txBody>
          </p:sp>
          <p:sp>
            <p:nvSpPr>
              <p:cNvPr id="31" name="Freeform 30"/>
              <p:cNvSpPr>
                <a:spLocks noEditPoints="1"/>
              </p:cNvSpPr>
              <p:nvPr/>
            </p:nvSpPr>
            <p:spPr bwMode="auto">
              <a:xfrm>
                <a:off x="668089" y="77433"/>
                <a:ext cx="214065" cy="24054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endParaRPr lang="en-US">
                  <a:solidFill>
                    <a:srgbClr val="FFFFFF"/>
                  </a:solidFill>
                </a:endParaRPr>
              </a:p>
            </p:txBody>
          </p:sp>
        </p:grpSp>
        <p:grpSp>
          <p:nvGrpSpPr>
            <p:cNvPr id="10" name="Group 9"/>
            <p:cNvGrpSpPr/>
            <p:nvPr/>
          </p:nvGrpSpPr>
          <p:grpSpPr>
            <a:xfrm>
              <a:off x="569735" y="769183"/>
              <a:ext cx="312668" cy="313281"/>
              <a:chOff x="571286" y="771277"/>
              <a:chExt cx="395416" cy="395416"/>
            </a:xfrm>
          </p:grpSpPr>
          <p:sp>
            <p:nvSpPr>
              <p:cNvPr id="28" name="Rectangle 27"/>
              <p:cNvSpPr/>
              <p:nvPr/>
            </p:nvSpPr>
            <p:spPr>
              <a:xfrm>
                <a:off x="571286" y="771277"/>
                <a:ext cx="395416" cy="395416"/>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a:solidFill>
                    <a:srgbClr val="FFFFFF"/>
                  </a:solidFill>
                </a:endParaRPr>
              </a:p>
            </p:txBody>
          </p:sp>
          <p:sp>
            <p:nvSpPr>
              <p:cNvPr id="29" name="Freeform 28"/>
              <p:cNvSpPr>
                <a:spLocks noEditPoints="1"/>
              </p:cNvSpPr>
              <p:nvPr/>
            </p:nvSpPr>
            <p:spPr bwMode="auto">
              <a:xfrm>
                <a:off x="661961" y="848709"/>
                <a:ext cx="214065" cy="24054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endParaRPr lang="en-US">
                  <a:solidFill>
                    <a:srgbClr val="FFFFFF"/>
                  </a:solidFill>
                </a:endParaRPr>
              </a:p>
            </p:txBody>
          </p:sp>
        </p:grpSp>
        <p:grpSp>
          <p:nvGrpSpPr>
            <p:cNvPr id="11" name="Group 10"/>
            <p:cNvGrpSpPr/>
            <p:nvPr/>
          </p:nvGrpSpPr>
          <p:grpSpPr>
            <a:xfrm>
              <a:off x="569735" y="1538364"/>
              <a:ext cx="312668" cy="313281"/>
              <a:chOff x="571286" y="1542552"/>
              <a:chExt cx="395416" cy="395416"/>
            </a:xfrm>
          </p:grpSpPr>
          <p:sp>
            <p:nvSpPr>
              <p:cNvPr id="26" name="Rectangle 25"/>
              <p:cNvSpPr/>
              <p:nvPr/>
            </p:nvSpPr>
            <p:spPr>
              <a:xfrm>
                <a:off x="571286" y="1542552"/>
                <a:ext cx="395416" cy="395416"/>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a:solidFill>
                    <a:srgbClr val="FFFFFF"/>
                  </a:solidFill>
                </a:endParaRPr>
              </a:p>
            </p:txBody>
          </p:sp>
          <p:sp>
            <p:nvSpPr>
              <p:cNvPr id="27" name="Freeform 26"/>
              <p:cNvSpPr>
                <a:spLocks noEditPoints="1"/>
              </p:cNvSpPr>
              <p:nvPr/>
            </p:nvSpPr>
            <p:spPr bwMode="auto">
              <a:xfrm>
                <a:off x="661961" y="1619984"/>
                <a:ext cx="214065" cy="24054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endParaRPr lang="en-US">
                  <a:solidFill>
                    <a:srgbClr val="FFFFFF"/>
                  </a:solidFill>
                </a:endParaRPr>
              </a:p>
            </p:txBody>
          </p:sp>
        </p:grpSp>
        <p:grpSp>
          <p:nvGrpSpPr>
            <p:cNvPr id="12" name="Group 11"/>
            <p:cNvGrpSpPr/>
            <p:nvPr/>
          </p:nvGrpSpPr>
          <p:grpSpPr>
            <a:xfrm>
              <a:off x="575847" y="2328319"/>
              <a:ext cx="312668" cy="313282"/>
              <a:chOff x="577415" y="2334658"/>
              <a:chExt cx="395416" cy="395416"/>
            </a:xfrm>
          </p:grpSpPr>
          <p:sp>
            <p:nvSpPr>
              <p:cNvPr id="24" name="Rectangle 23"/>
              <p:cNvSpPr/>
              <p:nvPr/>
            </p:nvSpPr>
            <p:spPr>
              <a:xfrm>
                <a:off x="577415" y="2334658"/>
                <a:ext cx="395416" cy="395416"/>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a:solidFill>
                    <a:srgbClr val="FFFFFF"/>
                  </a:solidFill>
                </a:endParaRPr>
              </a:p>
            </p:txBody>
          </p:sp>
          <p:sp>
            <p:nvSpPr>
              <p:cNvPr id="25" name="Freeform 24"/>
              <p:cNvSpPr>
                <a:spLocks noEditPoints="1"/>
              </p:cNvSpPr>
              <p:nvPr/>
            </p:nvSpPr>
            <p:spPr bwMode="auto">
              <a:xfrm>
                <a:off x="668090" y="2412090"/>
                <a:ext cx="214065"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91427" tIns="45714" rIns="91427" bIns="45714" numCol="1" anchor="t" anchorCtr="0" compatLnSpc="1">
                <a:prstTxWarp prst="textNoShape">
                  <a:avLst/>
                </a:prstTxWarp>
              </a:bodyPr>
              <a:lstStyle/>
              <a:p>
                <a:endParaRPr lang="en-US">
                  <a:solidFill>
                    <a:srgbClr val="FFFFFF"/>
                  </a:solidFill>
                </a:endParaRPr>
              </a:p>
            </p:txBody>
          </p:sp>
        </p:grpSp>
        <p:cxnSp>
          <p:nvCxnSpPr>
            <p:cNvPr id="13" name="Straight Arrow Connector 12"/>
            <p:cNvCxnSpPr/>
            <p:nvPr/>
          </p:nvCxnSpPr>
          <p:spPr>
            <a:xfrm flipV="1">
              <a:off x="1001704" y="156645"/>
              <a:ext cx="3479887" cy="319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1016750" y="924600"/>
              <a:ext cx="1967431" cy="1180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3959994" y="1210376"/>
              <a:ext cx="534418"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920399" y="1695005"/>
              <a:ext cx="700073" cy="10194"/>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2573375" y="1705200"/>
              <a:ext cx="422746" cy="512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925989" y="2473937"/>
              <a:ext cx="693961"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2580426" y="2473937"/>
              <a:ext cx="1901165" cy="1189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3" name="TextBox 2"/>
          <p:cNvSpPr txBox="1"/>
          <p:nvPr/>
        </p:nvSpPr>
        <p:spPr>
          <a:xfrm>
            <a:off x="10156015" y="1617463"/>
            <a:ext cx="1586041"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t>Azure IoT Suite</a:t>
            </a:r>
          </a:p>
        </p:txBody>
      </p:sp>
      <p:sp>
        <p:nvSpPr>
          <p:cNvPr id="35" name="TextBox 34"/>
          <p:cNvSpPr txBox="1"/>
          <p:nvPr/>
        </p:nvSpPr>
        <p:spPr>
          <a:xfrm>
            <a:off x="11646132" y="3547109"/>
            <a:ext cx="595356" cy="627864"/>
          </a:xfrm>
          <a:prstGeom prst="rect">
            <a:avLst/>
          </a:prstGeom>
          <a:noFill/>
        </p:spPr>
        <p:txBody>
          <a:bodyPr wrap="none" lIns="182880" tIns="146304" rIns="182880" bIns="146304" rtlCol="0">
            <a:spAutoFit/>
          </a:bodyPr>
          <a:lstStyle/>
          <a:p>
            <a:pPr>
              <a:lnSpc>
                <a:spcPct val="90000"/>
              </a:lnSpc>
              <a:spcAft>
                <a:spcPts val="600"/>
              </a:spcAft>
            </a:pPr>
            <a:r>
              <a:rPr lang="en-US" sz="2400" dirty="0"/>
              <a:t>…</a:t>
            </a:r>
          </a:p>
        </p:txBody>
      </p:sp>
    </p:spTree>
    <p:extLst>
      <p:ext uri="{BB962C8B-B14F-4D97-AF65-F5344CB8AC3E}">
        <p14:creationId xmlns:p14="http://schemas.microsoft.com/office/powerpoint/2010/main" val="1447017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2">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2">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2">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2">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2">
                                            <p:txEl>
                                              <p:pRg st="9" end="9"/>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2">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2">
                                            <p:txEl>
                                              <p:pRg st="11" end="11"/>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2">
                                            <p:txEl>
                                              <p:pRg st="12" end="12"/>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2">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ice provisioning</a:t>
            </a:r>
          </a:p>
        </p:txBody>
      </p:sp>
      <p:sp>
        <p:nvSpPr>
          <p:cNvPr id="3" name="Text Placeholder 2"/>
          <p:cNvSpPr>
            <a:spLocks noGrp="1"/>
          </p:cNvSpPr>
          <p:nvPr>
            <p:ph type="body" sz="quarter" idx="10"/>
          </p:nvPr>
        </p:nvSpPr>
        <p:spPr>
          <a:xfrm>
            <a:off x="274640" y="1212849"/>
            <a:ext cx="7281590" cy="5256824"/>
          </a:xfrm>
        </p:spPr>
        <p:txBody>
          <a:bodyPr/>
          <a:lstStyle/>
          <a:p>
            <a:r>
              <a:rPr lang="en-US" dirty="0"/>
              <a:t>Making devices known to your system</a:t>
            </a:r>
          </a:p>
          <a:p>
            <a:pPr marL="342900" lvl="1" indent="-342900">
              <a:buFont typeface="Arial" panose="020B0604020202020204" pitchFamily="34" charset="0"/>
              <a:buChar char="•"/>
            </a:pPr>
            <a:r>
              <a:rPr lang="en-US" dirty="0"/>
              <a:t>Many systems involved</a:t>
            </a:r>
            <a:br>
              <a:rPr lang="en-US" dirty="0"/>
            </a:br>
            <a:r>
              <a:rPr lang="en-US" dirty="0"/>
              <a:t>(IoT Hub, device registry, ERPs, …)</a:t>
            </a:r>
          </a:p>
          <a:p>
            <a:pPr marL="342900" lvl="1" indent="-342900">
              <a:buFont typeface="Arial" panose="020B0604020202020204" pitchFamily="34" charset="0"/>
              <a:buChar char="•"/>
            </a:pPr>
            <a:r>
              <a:rPr lang="en-US" dirty="0"/>
              <a:t>Device identity</a:t>
            </a:r>
            <a:br>
              <a:rPr lang="en-US" dirty="0"/>
            </a:br>
            <a:r>
              <a:rPr lang="en-US" dirty="0"/>
              <a:t>(composite devices, many concerns)</a:t>
            </a:r>
          </a:p>
          <a:p>
            <a:r>
              <a:rPr lang="en-US" dirty="0"/>
              <a:t>Sample provisioning</a:t>
            </a:r>
          </a:p>
          <a:p>
            <a:pPr marL="514350" lvl="1" indent="-514350">
              <a:buFont typeface="+mj-lt"/>
              <a:buAutoNum type="arabicPeriod"/>
            </a:pPr>
            <a:r>
              <a:rPr lang="en-US" dirty="0"/>
              <a:t>Device </a:t>
            </a:r>
            <a:r>
              <a:rPr lang="en-US" b="1" dirty="0"/>
              <a:t>provisioned</a:t>
            </a:r>
            <a:r>
              <a:rPr lang="en-US" dirty="0"/>
              <a:t> at manufacturing into system</a:t>
            </a:r>
          </a:p>
          <a:p>
            <a:pPr marL="514350" lvl="1" indent="-514350">
              <a:buFont typeface="+mj-lt"/>
              <a:buAutoNum type="arabicPeriod"/>
            </a:pPr>
            <a:r>
              <a:rPr lang="en-US" dirty="0"/>
              <a:t>Device connects for the first time and gets associated to its regional data center (</a:t>
            </a:r>
            <a:r>
              <a:rPr lang="en-US" b="1" dirty="0"/>
              <a:t>bootstrapped</a:t>
            </a:r>
            <a:r>
              <a:rPr lang="en-US" dirty="0"/>
              <a:t>)</a:t>
            </a:r>
          </a:p>
          <a:p>
            <a:pPr marL="514350" lvl="1" indent="-514350">
              <a:buFont typeface="+mj-lt"/>
              <a:buAutoNum type="arabicPeriod"/>
            </a:pPr>
            <a:r>
              <a:rPr lang="en-US" dirty="0"/>
              <a:t>As a result of customer interactions the device is </a:t>
            </a:r>
            <a:r>
              <a:rPr lang="en-US" b="1" dirty="0"/>
              <a:t>activated </a:t>
            </a:r>
            <a:endParaRPr lang="en-US" dirty="0"/>
          </a:p>
          <a:p>
            <a:pPr marL="514350" lvl="1" indent="-514350">
              <a:buFont typeface="+mj-lt"/>
              <a:buAutoNum type="arabicPeriod"/>
            </a:pPr>
            <a:r>
              <a:rPr lang="en-US" dirty="0"/>
              <a:t>Devices can be </a:t>
            </a:r>
            <a:r>
              <a:rPr lang="en-US" b="1" dirty="0"/>
              <a:t>deactivated</a:t>
            </a:r>
            <a:r>
              <a:rPr lang="en-US" dirty="0"/>
              <a:t> for security and other reasons</a:t>
            </a:r>
          </a:p>
          <a:p>
            <a:pPr marL="514350" lvl="1" indent="-514350">
              <a:buFont typeface="+mj-lt"/>
              <a:buAutoNum type="arabicPeriod"/>
            </a:pPr>
            <a:r>
              <a:rPr lang="en-US" dirty="0"/>
              <a:t>A device can also be </a:t>
            </a:r>
            <a:r>
              <a:rPr lang="en-US" b="1" dirty="0"/>
              <a:t>de-provisioned</a:t>
            </a:r>
            <a:r>
              <a:rPr lang="en-US" dirty="0"/>
              <a:t> at end-of-life or decommission.</a:t>
            </a:r>
          </a:p>
        </p:txBody>
      </p:sp>
      <p:sp>
        <p:nvSpPr>
          <p:cNvPr id="5" name="Rounded Rectangle 4"/>
          <p:cNvSpPr/>
          <p:nvPr/>
        </p:nvSpPr>
        <p:spPr bwMode="auto">
          <a:xfrm>
            <a:off x="8864298" y="1173011"/>
            <a:ext cx="1737341" cy="822951"/>
          </a:xfrm>
          <a:prstGeom prst="round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2000" dirty="0">
                <a:gradFill>
                  <a:gsLst>
                    <a:gs pos="16814">
                      <a:srgbClr val="FFFFFF"/>
                    </a:gs>
                    <a:gs pos="46000">
                      <a:srgbClr val="FFFFFF"/>
                    </a:gs>
                  </a:gsLst>
                  <a:lin ang="5400000" scaled="0"/>
                </a:gradFill>
              </a:rPr>
              <a:t>Provisioned</a:t>
            </a:r>
          </a:p>
        </p:txBody>
      </p:sp>
      <p:sp>
        <p:nvSpPr>
          <p:cNvPr id="6" name="Rounded Rectangle 5"/>
          <p:cNvSpPr/>
          <p:nvPr/>
        </p:nvSpPr>
        <p:spPr bwMode="auto">
          <a:xfrm>
            <a:off x="7669922" y="4003473"/>
            <a:ext cx="1737341" cy="822951"/>
          </a:xfrm>
          <a:prstGeom prst="round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2000" dirty="0">
                <a:gradFill>
                  <a:gsLst>
                    <a:gs pos="16814">
                      <a:srgbClr val="FFFFFF"/>
                    </a:gs>
                    <a:gs pos="46000">
                      <a:srgbClr val="FFFFFF"/>
                    </a:gs>
                  </a:gsLst>
                  <a:lin ang="5400000" scaled="0"/>
                </a:gradFill>
              </a:rPr>
              <a:t>Activated</a:t>
            </a:r>
          </a:p>
        </p:txBody>
      </p:sp>
      <p:sp>
        <p:nvSpPr>
          <p:cNvPr id="7" name="Rounded Rectangle 6"/>
          <p:cNvSpPr/>
          <p:nvPr/>
        </p:nvSpPr>
        <p:spPr bwMode="auto">
          <a:xfrm>
            <a:off x="10058675" y="4003473"/>
            <a:ext cx="1737341" cy="822951"/>
          </a:xfrm>
          <a:prstGeom prst="round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2000" dirty="0">
                <a:gradFill>
                  <a:gsLst>
                    <a:gs pos="16814">
                      <a:srgbClr val="FFFFFF"/>
                    </a:gs>
                    <a:gs pos="46000">
                      <a:srgbClr val="FFFFFF"/>
                    </a:gs>
                  </a:gsLst>
                  <a:lin ang="5400000" scaled="0"/>
                </a:gradFill>
              </a:rPr>
              <a:t>Deactivated</a:t>
            </a:r>
          </a:p>
        </p:txBody>
      </p:sp>
      <p:cxnSp>
        <p:nvCxnSpPr>
          <p:cNvPr id="8" name="Straight Arrow Connector 7"/>
          <p:cNvCxnSpPr>
            <a:stCxn id="6" idx="0"/>
            <a:endCxn id="18" idx="2"/>
          </p:cNvCxnSpPr>
          <p:nvPr/>
        </p:nvCxnSpPr>
        <p:spPr>
          <a:xfrm flipV="1">
            <a:off x="8538593" y="3488083"/>
            <a:ext cx="1194376" cy="515390"/>
          </a:xfrm>
          <a:prstGeom prst="straightConnector1">
            <a:avLst/>
          </a:prstGeom>
          <a:ln w="57150">
            <a:solidFill>
              <a:schemeClr val="tx1">
                <a:alpha val="50000"/>
              </a:schemeClr>
            </a:solidFill>
            <a:headEnd type="triangle" w="med" len="med"/>
            <a:tailEnd type="none" w="med" len="med"/>
          </a:ln>
        </p:spPr>
        <p:style>
          <a:lnRef idx="3">
            <a:schemeClr val="accent6"/>
          </a:lnRef>
          <a:fillRef idx="0">
            <a:schemeClr val="accent6"/>
          </a:fillRef>
          <a:effectRef idx="2">
            <a:schemeClr val="accent6"/>
          </a:effectRef>
          <a:fontRef idx="minor">
            <a:schemeClr val="tx1"/>
          </a:fontRef>
        </p:style>
      </p:cxnSp>
      <p:cxnSp>
        <p:nvCxnSpPr>
          <p:cNvPr id="11" name="Straight Arrow Connector 10"/>
          <p:cNvCxnSpPr>
            <a:stCxn id="7" idx="1"/>
            <a:endCxn id="6" idx="3"/>
          </p:cNvCxnSpPr>
          <p:nvPr/>
        </p:nvCxnSpPr>
        <p:spPr>
          <a:xfrm flipH="1">
            <a:off x="9407263" y="4414949"/>
            <a:ext cx="651412" cy="0"/>
          </a:xfrm>
          <a:prstGeom prst="straightConnector1">
            <a:avLst/>
          </a:prstGeom>
          <a:ln w="57150">
            <a:solidFill>
              <a:schemeClr val="tx1">
                <a:alpha val="50000"/>
              </a:schemeClr>
            </a:solidFill>
            <a:headEnd type="triangle"/>
            <a:tailEnd type="triangle"/>
          </a:ln>
        </p:spPr>
        <p:style>
          <a:lnRef idx="3">
            <a:schemeClr val="accent6"/>
          </a:lnRef>
          <a:fillRef idx="0">
            <a:schemeClr val="accent6"/>
          </a:fillRef>
          <a:effectRef idx="2">
            <a:schemeClr val="accent6"/>
          </a:effectRef>
          <a:fontRef idx="minor">
            <a:schemeClr val="tx1"/>
          </a:fontRef>
        </p:style>
      </p:cxnSp>
      <p:sp>
        <p:nvSpPr>
          <p:cNvPr id="18" name="Rounded Rectangle 17"/>
          <p:cNvSpPr/>
          <p:nvPr/>
        </p:nvSpPr>
        <p:spPr bwMode="auto">
          <a:xfrm>
            <a:off x="8750606" y="2665132"/>
            <a:ext cx="1964726" cy="822951"/>
          </a:xfrm>
          <a:prstGeom prst="round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2000" dirty="0">
                <a:gradFill>
                  <a:gsLst>
                    <a:gs pos="16814">
                      <a:srgbClr val="FFFFFF"/>
                    </a:gs>
                    <a:gs pos="46000">
                      <a:srgbClr val="FFFFFF"/>
                    </a:gs>
                  </a:gsLst>
                  <a:lin ang="5400000" scaled="0"/>
                </a:gradFill>
              </a:rPr>
              <a:t>Bootstrapped</a:t>
            </a:r>
          </a:p>
        </p:txBody>
      </p:sp>
      <p:cxnSp>
        <p:nvCxnSpPr>
          <p:cNvPr id="22" name="Straight Arrow Connector 21"/>
          <p:cNvCxnSpPr>
            <a:stCxn id="18" idx="0"/>
            <a:endCxn id="5" idx="2"/>
          </p:cNvCxnSpPr>
          <p:nvPr/>
        </p:nvCxnSpPr>
        <p:spPr>
          <a:xfrm flipV="1">
            <a:off x="9732969" y="1995962"/>
            <a:ext cx="0" cy="669170"/>
          </a:xfrm>
          <a:prstGeom prst="straightConnector1">
            <a:avLst/>
          </a:prstGeom>
          <a:ln w="57150">
            <a:solidFill>
              <a:schemeClr val="tx1">
                <a:alpha val="50000"/>
              </a:schemeClr>
            </a:solidFill>
            <a:headEnd type="triangle" w="med" len="med"/>
            <a:tailEnd type="none" w="med" len="med"/>
          </a:ln>
        </p:spPr>
        <p:style>
          <a:lnRef idx="3">
            <a:schemeClr val="accent6"/>
          </a:lnRef>
          <a:fillRef idx="0">
            <a:schemeClr val="accent6"/>
          </a:fillRef>
          <a:effectRef idx="2">
            <a:schemeClr val="accent6"/>
          </a:effectRef>
          <a:fontRef idx="minor">
            <a:schemeClr val="tx1"/>
          </a:fontRef>
        </p:style>
      </p:cxnSp>
      <p:sp>
        <p:nvSpPr>
          <p:cNvPr id="33" name="Rounded Rectangle 32"/>
          <p:cNvSpPr/>
          <p:nvPr/>
        </p:nvSpPr>
        <p:spPr bwMode="auto">
          <a:xfrm>
            <a:off x="8807451" y="5600359"/>
            <a:ext cx="1851034" cy="822951"/>
          </a:xfrm>
          <a:prstGeom prst="round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2000" dirty="0">
                <a:gradFill>
                  <a:gsLst>
                    <a:gs pos="16814">
                      <a:srgbClr val="FFFFFF"/>
                    </a:gs>
                    <a:gs pos="46000">
                      <a:srgbClr val="FFFFFF"/>
                    </a:gs>
                  </a:gsLst>
                  <a:lin ang="5400000" scaled="0"/>
                </a:gradFill>
              </a:rPr>
              <a:t>De-provisioned</a:t>
            </a:r>
          </a:p>
        </p:txBody>
      </p:sp>
      <p:cxnSp>
        <p:nvCxnSpPr>
          <p:cNvPr id="40" name="Straight Arrow Connector 39"/>
          <p:cNvCxnSpPr>
            <a:stCxn id="33" idx="0"/>
            <a:endCxn id="7" idx="2"/>
          </p:cNvCxnSpPr>
          <p:nvPr/>
        </p:nvCxnSpPr>
        <p:spPr>
          <a:xfrm flipV="1">
            <a:off x="9732968" y="4826424"/>
            <a:ext cx="1194378" cy="773935"/>
          </a:xfrm>
          <a:prstGeom prst="straightConnector1">
            <a:avLst/>
          </a:prstGeom>
          <a:ln w="57150">
            <a:solidFill>
              <a:schemeClr val="tx1">
                <a:alpha val="50000"/>
              </a:schemeClr>
            </a:solidFill>
            <a:headEnd type="triangle" w="med" len="med"/>
            <a:tailEnd type="none" w="med" len="med"/>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2637610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18" grpId="0" animBg="1"/>
      <p:bldP spid="3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ice-to-cloud messages</a:t>
            </a:r>
          </a:p>
        </p:txBody>
      </p:sp>
      <p:sp>
        <p:nvSpPr>
          <p:cNvPr id="3" name="Text Placeholder 2"/>
          <p:cNvSpPr>
            <a:spLocks noGrp="1"/>
          </p:cNvSpPr>
          <p:nvPr>
            <p:ph type="body" sz="quarter" idx="10"/>
          </p:nvPr>
        </p:nvSpPr>
        <p:spPr>
          <a:xfrm>
            <a:off x="274640" y="1212849"/>
            <a:ext cx="6309353" cy="5207579"/>
          </a:xfrm>
        </p:spPr>
        <p:txBody>
          <a:bodyPr/>
          <a:lstStyle/>
          <a:p>
            <a:r>
              <a:rPr lang="en-US" dirty="0"/>
              <a:t>Interface</a:t>
            </a:r>
          </a:p>
          <a:p>
            <a:pPr lvl="1"/>
            <a:r>
              <a:rPr lang="en-US" dirty="0"/>
              <a:t>AMQP and HTTPS device-side endpoint</a:t>
            </a:r>
          </a:p>
          <a:p>
            <a:pPr lvl="1"/>
            <a:r>
              <a:rPr lang="en-US" dirty="0"/>
              <a:t>AMQP service-side endpoint</a:t>
            </a:r>
          </a:p>
          <a:p>
            <a:pPr lvl="1"/>
            <a:r>
              <a:rPr lang="en-US" dirty="0"/>
              <a:t>Device and service SDKs</a:t>
            </a:r>
          </a:p>
          <a:p>
            <a:r>
              <a:rPr lang="en-US" dirty="0"/>
              <a:t>Compatible with Event Hubs</a:t>
            </a:r>
          </a:p>
          <a:p>
            <a:pPr lvl="1"/>
            <a:r>
              <a:rPr lang="en-US" dirty="0"/>
              <a:t>Partitioned receiver, client check-pointing</a:t>
            </a:r>
          </a:p>
          <a:p>
            <a:pPr lvl="1"/>
            <a:r>
              <a:rPr lang="en-US" dirty="0"/>
              <a:t>Integrations with Azure Stream Analytics, Storm, …</a:t>
            </a:r>
          </a:p>
          <a:p>
            <a:r>
              <a:rPr lang="en-US" dirty="0"/>
              <a:t>IoT Hub services for D2C</a:t>
            </a:r>
          </a:p>
          <a:p>
            <a:pPr lvl="1"/>
            <a:r>
              <a:rPr lang="en-US" dirty="0"/>
              <a:t>Millions of simultaneously connected devices </a:t>
            </a:r>
          </a:p>
          <a:p>
            <a:pPr lvl="1"/>
            <a:r>
              <a:rPr lang="en-US" dirty="0"/>
              <a:t>Per-device authentication</a:t>
            </a:r>
          </a:p>
          <a:p>
            <a:pPr lvl="1"/>
            <a:r>
              <a:rPr lang="en-US" dirty="0"/>
              <a:t>Connection-multiplexing:</a:t>
            </a:r>
          </a:p>
          <a:p>
            <a:pPr marL="342900" lvl="1" indent="-342900">
              <a:buFont typeface="Arial" panose="020B0604020202020204" pitchFamily="34" charset="0"/>
              <a:buChar char="•"/>
            </a:pPr>
            <a:r>
              <a:rPr lang="en-US" dirty="0"/>
              <a:t>C2D and D2C traffic</a:t>
            </a:r>
          </a:p>
          <a:p>
            <a:pPr marL="342900" lvl="1" indent="-342900">
              <a:buFont typeface="Arial" panose="020B0604020202020204" pitchFamily="34" charset="0"/>
              <a:buChar char="•"/>
            </a:pPr>
            <a:r>
              <a:rPr lang="en-US" dirty="0"/>
              <a:t>Across multiple devices for gateway scenarios</a:t>
            </a:r>
          </a:p>
        </p:txBody>
      </p:sp>
      <p:grpSp>
        <p:nvGrpSpPr>
          <p:cNvPr id="5" name="Group 4"/>
          <p:cNvGrpSpPr/>
          <p:nvPr/>
        </p:nvGrpSpPr>
        <p:grpSpPr>
          <a:xfrm>
            <a:off x="7772700" y="2217116"/>
            <a:ext cx="3112975" cy="3840438"/>
            <a:chOff x="3749384" y="2308555"/>
            <a:chExt cx="3112975" cy="3840438"/>
          </a:xfrm>
        </p:grpSpPr>
        <p:sp>
          <p:nvSpPr>
            <p:cNvPr id="6" name="Rectangle 5"/>
            <p:cNvSpPr/>
            <p:nvPr/>
          </p:nvSpPr>
          <p:spPr bwMode="auto">
            <a:xfrm>
              <a:off x="3749384" y="2308555"/>
              <a:ext cx="3112975" cy="3840438"/>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2000" dirty="0">
                  <a:gradFill>
                    <a:gsLst>
                      <a:gs pos="16814">
                        <a:srgbClr val="FFFFFF"/>
                      </a:gs>
                      <a:gs pos="46000">
                        <a:srgbClr val="FFFFFF"/>
                      </a:gs>
                    </a:gsLst>
                    <a:lin ang="5400000" scaled="0"/>
                  </a:gradFill>
                </a:rPr>
                <a:t>Azure IoT Suite: IoT Hub</a:t>
              </a:r>
            </a:p>
          </p:txBody>
        </p:sp>
        <p:grpSp>
          <p:nvGrpSpPr>
            <p:cNvPr id="7" name="Group 6"/>
            <p:cNvGrpSpPr/>
            <p:nvPr/>
          </p:nvGrpSpPr>
          <p:grpSpPr>
            <a:xfrm>
              <a:off x="3932262" y="2857189"/>
              <a:ext cx="1371585" cy="1554464"/>
              <a:chOff x="1829165" y="3680140"/>
              <a:chExt cx="1371585" cy="1554464"/>
            </a:xfrm>
          </p:grpSpPr>
          <p:sp>
            <p:nvSpPr>
              <p:cNvPr id="14" name="Rectangle 13"/>
              <p:cNvSpPr/>
              <p:nvPr/>
            </p:nvSpPr>
            <p:spPr bwMode="auto">
              <a:xfrm>
                <a:off x="1829165" y="3680140"/>
                <a:ext cx="1371585" cy="1554464"/>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Device </a:t>
                </a:r>
                <a:r>
                  <a:rPr lang="en-US" sz="1400" i="1" dirty="0">
                    <a:gradFill>
                      <a:gsLst>
                        <a:gs pos="16814">
                          <a:srgbClr val="FFFFFF"/>
                        </a:gs>
                        <a:gs pos="46000">
                          <a:srgbClr val="FFFFFF"/>
                        </a:gs>
                      </a:gsLst>
                      <a:lin ang="5400000" scaled="0"/>
                    </a:gradFill>
                  </a:rPr>
                  <a:t>id</a:t>
                </a:r>
              </a:p>
            </p:txBody>
          </p:sp>
          <p:sp>
            <p:nvSpPr>
              <p:cNvPr id="15" name="Rectangle 14"/>
              <p:cNvSpPr/>
              <p:nvPr/>
            </p:nvSpPr>
            <p:spPr bwMode="auto">
              <a:xfrm>
                <a:off x="2012042" y="4594530"/>
                <a:ext cx="1005829" cy="457195"/>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200" dirty="0">
                    <a:gradFill>
                      <a:gsLst>
                        <a:gs pos="16814">
                          <a:srgbClr val="FFFFFF"/>
                        </a:gs>
                        <a:gs pos="46000">
                          <a:srgbClr val="FFFFFF"/>
                        </a:gs>
                      </a:gsLst>
                      <a:lin ang="5400000" scaled="0"/>
                    </a:gradFill>
                  </a:rPr>
                  <a:t>C2D queue</a:t>
                </a:r>
              </a:p>
              <a:p>
                <a:pPr algn="ctr" defTabSz="932398" fontAlgn="base">
                  <a:spcBef>
                    <a:spcPct val="0"/>
                  </a:spcBef>
                  <a:spcAft>
                    <a:spcPct val="0"/>
                  </a:spcAft>
                </a:pPr>
                <a:r>
                  <a:rPr lang="en-US" sz="1200" dirty="0">
                    <a:gradFill>
                      <a:gsLst>
                        <a:gs pos="16814">
                          <a:srgbClr val="FFFFFF"/>
                        </a:gs>
                        <a:gs pos="46000">
                          <a:srgbClr val="FFFFFF"/>
                        </a:gs>
                      </a:gsLst>
                      <a:lin ang="5400000" scaled="0"/>
                    </a:gradFill>
                  </a:rPr>
                  <a:t>endpoint</a:t>
                </a:r>
              </a:p>
            </p:txBody>
          </p:sp>
          <p:sp>
            <p:nvSpPr>
              <p:cNvPr id="16" name="Rectangle 15"/>
              <p:cNvSpPr/>
              <p:nvPr/>
            </p:nvSpPr>
            <p:spPr bwMode="auto">
              <a:xfrm>
                <a:off x="2012041" y="4045896"/>
                <a:ext cx="1005829" cy="457195"/>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200" b="1" dirty="0">
                    <a:gradFill>
                      <a:gsLst>
                        <a:gs pos="16814">
                          <a:srgbClr val="FFFFFF"/>
                        </a:gs>
                        <a:gs pos="46000">
                          <a:srgbClr val="FFFFFF"/>
                        </a:gs>
                      </a:gsLst>
                      <a:lin ang="5400000" scaled="0"/>
                    </a:gradFill>
                  </a:rPr>
                  <a:t>D2C send endpoint</a:t>
                </a:r>
              </a:p>
            </p:txBody>
          </p:sp>
        </p:grpSp>
        <p:sp>
          <p:nvSpPr>
            <p:cNvPr id="8" name="Rectangle 7"/>
            <p:cNvSpPr/>
            <p:nvPr/>
          </p:nvSpPr>
          <p:spPr bwMode="auto">
            <a:xfrm>
              <a:off x="3932262" y="4594530"/>
              <a:ext cx="1371585" cy="365757"/>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Device </a:t>
              </a:r>
              <a:r>
                <a:rPr lang="en-US" sz="1400" i="1" dirty="0">
                  <a:gradFill>
                    <a:gsLst>
                      <a:gs pos="16814">
                        <a:srgbClr val="FFFFFF"/>
                      </a:gs>
                      <a:gs pos="46000">
                        <a:srgbClr val="FFFFFF"/>
                      </a:gs>
                    </a:gsLst>
                    <a:lin ang="5400000" scaled="0"/>
                  </a:gradFill>
                </a:rPr>
                <a:t>…</a:t>
              </a:r>
            </a:p>
          </p:txBody>
        </p:sp>
        <p:sp>
          <p:nvSpPr>
            <p:cNvPr id="9" name="Rectangle 8"/>
            <p:cNvSpPr/>
            <p:nvPr/>
          </p:nvSpPr>
          <p:spPr bwMode="auto">
            <a:xfrm>
              <a:off x="3932262" y="5076794"/>
              <a:ext cx="1371585" cy="365757"/>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Device </a:t>
              </a:r>
              <a:r>
                <a:rPr lang="en-US" sz="1400" i="1" dirty="0">
                  <a:gradFill>
                    <a:gsLst>
                      <a:gs pos="16814">
                        <a:srgbClr val="FFFFFF"/>
                      </a:gs>
                      <a:gs pos="46000">
                        <a:srgbClr val="FFFFFF"/>
                      </a:gs>
                    </a:gsLst>
                    <a:lin ang="5400000" scaled="0"/>
                  </a:gradFill>
                </a:rPr>
                <a:t>…</a:t>
              </a:r>
            </a:p>
          </p:txBody>
        </p:sp>
        <p:sp>
          <p:nvSpPr>
            <p:cNvPr id="10" name="Rectangle 9"/>
            <p:cNvSpPr/>
            <p:nvPr/>
          </p:nvSpPr>
          <p:spPr bwMode="auto">
            <a:xfrm>
              <a:off x="3932259" y="5517920"/>
              <a:ext cx="1371585" cy="365757"/>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Device </a:t>
              </a:r>
              <a:r>
                <a:rPr lang="en-US" sz="1400" i="1" dirty="0">
                  <a:gradFill>
                    <a:gsLst>
                      <a:gs pos="16814">
                        <a:srgbClr val="FFFFFF"/>
                      </a:gs>
                      <a:gs pos="46000">
                        <a:srgbClr val="FFFFFF"/>
                      </a:gs>
                    </a:gsLst>
                    <a:lin ang="5400000" scaled="0"/>
                  </a:gradFill>
                </a:rPr>
                <a:t>…</a:t>
              </a:r>
            </a:p>
          </p:txBody>
        </p:sp>
        <p:sp>
          <p:nvSpPr>
            <p:cNvPr id="11" name="Rectangle 10"/>
            <p:cNvSpPr/>
            <p:nvPr/>
          </p:nvSpPr>
          <p:spPr bwMode="auto">
            <a:xfrm>
              <a:off x="5364082" y="2857532"/>
              <a:ext cx="1371585" cy="548635"/>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b="1" dirty="0">
                  <a:gradFill>
                    <a:gsLst>
                      <a:gs pos="16814">
                        <a:srgbClr val="FFFFFF"/>
                      </a:gs>
                      <a:gs pos="46000">
                        <a:srgbClr val="FFFFFF"/>
                      </a:gs>
                    </a:gsLst>
                    <a:lin ang="5400000" scaled="0"/>
                  </a:gradFill>
                </a:rPr>
                <a:t>D2C receive endpoint</a:t>
              </a:r>
              <a:endParaRPr lang="en-US" sz="1400" b="1" i="1" dirty="0">
                <a:gradFill>
                  <a:gsLst>
                    <a:gs pos="16814">
                      <a:srgbClr val="FFFFFF"/>
                    </a:gs>
                    <a:gs pos="46000">
                      <a:srgbClr val="FFFFFF"/>
                    </a:gs>
                  </a:gsLst>
                  <a:lin ang="5400000" scaled="0"/>
                </a:gradFill>
              </a:endParaRPr>
            </a:p>
          </p:txBody>
        </p:sp>
        <p:sp>
          <p:nvSpPr>
            <p:cNvPr id="12" name="Rectangle 11"/>
            <p:cNvSpPr/>
            <p:nvPr/>
          </p:nvSpPr>
          <p:spPr bwMode="auto">
            <a:xfrm>
              <a:off x="5350879" y="3576378"/>
              <a:ext cx="1371585" cy="548635"/>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C2D send endpoint</a:t>
              </a:r>
              <a:endParaRPr lang="en-US" sz="1400" i="1" dirty="0">
                <a:gradFill>
                  <a:gsLst>
                    <a:gs pos="16814">
                      <a:srgbClr val="FFFFFF"/>
                    </a:gs>
                    <a:gs pos="46000">
                      <a:srgbClr val="FFFFFF"/>
                    </a:gs>
                  </a:gsLst>
                  <a:lin ang="5400000" scaled="0"/>
                </a:gradFill>
              </a:endParaRPr>
            </a:p>
          </p:txBody>
        </p:sp>
        <p:sp>
          <p:nvSpPr>
            <p:cNvPr id="13" name="Rectangle 12"/>
            <p:cNvSpPr/>
            <p:nvPr/>
          </p:nvSpPr>
          <p:spPr bwMode="auto">
            <a:xfrm>
              <a:off x="5364081" y="5243458"/>
              <a:ext cx="1371585" cy="641746"/>
            </a:xfrm>
            <a:prstGeom prst="rect">
              <a:avLst/>
            </a:prstGeom>
            <a:solidFill>
              <a:schemeClr val="accent1">
                <a:lumMod val="60000"/>
                <a:lumOff val="4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400" dirty="0">
                  <a:gradFill>
                    <a:gsLst>
                      <a:gs pos="16814">
                        <a:srgbClr val="FFFFFF"/>
                      </a:gs>
                      <a:gs pos="46000">
                        <a:srgbClr val="FFFFFF"/>
                      </a:gs>
                    </a:gsLst>
                    <a:lin ang="5400000" scaled="0"/>
                  </a:gradFill>
                </a:rPr>
                <a:t>Device identity management</a:t>
              </a:r>
            </a:p>
          </p:txBody>
        </p:sp>
      </p:grpSp>
      <p:cxnSp>
        <p:nvCxnSpPr>
          <p:cNvPr id="17" name="Straight Arrow Connector 16"/>
          <p:cNvCxnSpPr/>
          <p:nvPr/>
        </p:nvCxnSpPr>
        <p:spPr>
          <a:xfrm>
            <a:off x="7562140" y="3360131"/>
            <a:ext cx="548632" cy="1"/>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10819218" y="3042003"/>
            <a:ext cx="520995" cy="86"/>
          </a:xfrm>
          <a:prstGeom prst="straightConnector1">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4269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
                                            <p:txEl>
                                              <p:pRg st="11" end="11"/>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_v03.potx" id="{60010040-FB05-4F4C-8C92-987A22EFC14F}" vid="{8A0926CE-FFCE-40A6-A065-050108FA5500}"/>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_v03.potx" id="{60010040-FB05-4F4C-8C92-987A22EFC14F}" vid="{1BB892BA-1BEF-4F90-996E-46A05CEF1994}"/>
    </a:ext>
  </a:extLst>
</a:theme>
</file>

<file path=ppt/theme/theme3.xml><?xml version="1.0" encoding="utf-8"?>
<a:theme xmlns:a="http://schemas.openxmlformats.org/drawingml/2006/main" name="1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4.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5.xml><?xml version="1.0" encoding="utf-8"?>
<a:theme xmlns:a="http://schemas.openxmlformats.org/drawingml/2006/main" name="2_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3DC98DF2-15D7-439F-8B72-0561DF431F48}"/>
    </a:ext>
  </a:extLst>
</a:theme>
</file>

<file path=ppt/theme/theme6.xml><?xml version="1.0" encoding="utf-8"?>
<a:theme xmlns:a="http://schemas.openxmlformats.org/drawingml/2006/main" name="15_Custom Design">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6_Custom Design">
  <a:themeElements>
    <a:clrScheme name="Custom 14">
      <a:dk1>
        <a:sysClr val="windowText" lastClr="000000"/>
      </a:dk1>
      <a:lt1>
        <a:sysClr val="window" lastClr="FFFFFF"/>
      </a:lt1>
      <a:dk2>
        <a:srgbClr val="000000"/>
      </a:dk2>
      <a:lt2>
        <a:srgbClr val="F8F8F8"/>
      </a:lt2>
      <a:accent1>
        <a:srgbClr val="0078D7"/>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WindowsEmbedded_16x9_ratio_MULTI-INDUSTRY_Storyboard">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Microsoft Corporate Font">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ln>
          <a:noFill/>
          <a:headEnd type="none" w="med" len="med"/>
          <a:tailEnd type="none" w="med" len="med"/>
        </a:ln>
      </a:spPr>
      <a:bodyPr wrap="square" lIns="0" tIns="0" rIns="0" bIns="0" rtlCol="0">
        <a:spAutoFit/>
      </a:bodyPr>
      <a:lstStyle>
        <a:defPPr>
          <a:defRPr sz="2000" spc="-38" dirty="0">
            <a:gradFill>
              <a:gsLst>
                <a:gs pos="0">
                  <a:schemeClr val="tx1">
                    <a:lumMod val="65000"/>
                    <a:lumOff val="35000"/>
                  </a:schemeClr>
                </a:gs>
                <a:gs pos="86000">
                  <a:schemeClr val="tx1">
                    <a:lumMod val="65000"/>
                    <a:lumOff val="35000"/>
                  </a:schemeClr>
                </a:gs>
              </a:gsLst>
              <a:lin ang="5400000" scaled="0"/>
            </a:gradFill>
            <a:latin typeface="Segoe UI" pitchFamily="34" charset="0"/>
            <a:ea typeface="Segoe UI" pitchFamily="34" charset="0"/>
            <a:cs typeface="Segoe UI" pitchFamily="34" charset="0"/>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oscone Center</TermName>
          <TermId xmlns="http://schemas.microsoft.com/office/infopath/2007/PartnerControls">d4f36a2e-dd0d-4424-990f-7c93b4e9f063</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BUILD</TermName>
          <TermId xmlns="http://schemas.microsoft.com/office/infopath/2007/PartnerControls">58542b36-5bf5-46a6-a53f-a41fb7a73785</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San Francisco</TermName>
          <TermId xmlns="http://schemas.microsoft.com/office/infopath/2007/PartnerControls">84dfcb53-432b-499d-8965-93d483d36b4a</TermId>
        </TermInfo>
      </Terms>
    </pfbfa50075a04958bd8757dc155d3e08>
    <Presentation_x0020_Date xmlns="12a172fe-0250-434a-85cf-03b10810c5e5">2015-04-29T00:00:00-07:00</Presentation_x0020_Date>
    <o72fbe6ee5ae4131af0832c08ec51202 xmlns="12a172fe-0250-434a-85cf-03b10810c5e5">
      <Terms xmlns="http://schemas.microsoft.com/office/infopath/2007/PartnerControls"/>
    </o72fbe6ee5ae4131af0832c08ec51202>
    <Event_x0020_Start_x0020_Date xmlns="12a172fe-0250-434a-85cf-03b10810c5e5">2015-04-29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Sam George;Steve Teixeira</External_x0020_Speaker>
    <Session_x0020_Code xmlns="12a172fe-0250-434a-85cf-03b10810c5e5">2-652</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1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Build 2015</TermName>
          <TermId xmlns="http://schemas.microsoft.com/office/infopath/2007/PartnerControls">54419920-0a06-43b0-b2df-79127b266d93</TermId>
        </TermInfo>
      </Terms>
    </TaxKeywordTaxHTField>
    <TaxCatchAll xmlns="230e9df3-be65-4c73-a93b-d1236ebd677e">
      <Value>173</Value>
      <Value>172</Value>
      <Value>171</Value>
      <Value>170</Value>
    </TaxCatchAll>
    <eb9cf3a3af7b473faa5c9c98148a90a4 xmlns="12a172fe-0250-434a-85cf-03b10810c5e5">
      <Terms xmlns="http://schemas.microsoft.com/office/infopath/2007/PartnerControls"/>
    </eb9cf3a3af7b473faa5c9c98148a90a4>
    <SharingHintHash xmlns="12a172fe-0250-434a-85cf-03b10810c5e5">-103767253</SharingHintHash>
    <SharedWithUsers xmlns="12a172fe-0250-434a-85cf-03b10810c5e5">
      <UserInfo>
        <DisplayName/>
        <AccountId xsi:nil="true"/>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5" ma:contentTypeDescription="Create a new document." ma:contentTypeScope="" ma:versionID="9f49739d1da212619d044bf1bfa27251">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d1ec06fbcf9feb71c233288b468d8e39"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element ref="ns2:SharedWithUsers" minOccurs="0"/>
                <xsd:element ref="ns2: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38" nillable="true" ma:displayName="Sharing Hint Hash"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http://schemas.microsoft.com/office/infopath/2007/PartnerControls"/>
    <ds:schemaRef ds:uri="http://schemas.openxmlformats.org/package/2006/metadata/core-properties"/>
    <ds:schemaRef ds:uri="http://purl.org/dc/dcmitype/"/>
    <ds:schemaRef ds:uri="http://www.w3.org/XML/1998/namespace"/>
    <ds:schemaRef ds:uri="230e9df3-be65-4c73-a93b-d1236ebd677e"/>
    <ds:schemaRef ds:uri="http://purl.org/dc/terms/"/>
    <ds:schemaRef ds:uri="http://schemas.microsoft.com/sharepoint/v3"/>
    <ds:schemaRef ds:uri="12a172fe-0250-434a-85cf-03b10810c5e5"/>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99E0065C-627B-42FD-A7AD-D2ABAFAC7E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uild_2015_Template_v03</Template>
  <TotalTime>531</TotalTime>
  <Words>1242</Words>
  <Application>Microsoft Office PowerPoint</Application>
  <PresentationFormat>Custom</PresentationFormat>
  <Paragraphs>290</Paragraphs>
  <Slides>13</Slides>
  <Notes>10</Notes>
  <HiddenSlides>0</HiddenSlides>
  <MMClips>0</MMClips>
  <ScaleCrop>false</ScaleCrop>
  <HeadingPairs>
    <vt:vector size="8" baseType="variant">
      <vt:variant>
        <vt:lpstr>Fonts Used</vt:lpstr>
      </vt:variant>
      <vt:variant>
        <vt:i4>12</vt:i4>
      </vt:variant>
      <vt:variant>
        <vt:lpstr>Theme</vt:lpstr>
      </vt:variant>
      <vt:variant>
        <vt:i4>8</vt:i4>
      </vt:variant>
      <vt:variant>
        <vt:lpstr>Embedded OLE Servers</vt:lpstr>
      </vt:variant>
      <vt:variant>
        <vt:i4>1</vt:i4>
      </vt:variant>
      <vt:variant>
        <vt:lpstr>Slide Titles</vt:lpstr>
      </vt:variant>
      <vt:variant>
        <vt:i4>13</vt:i4>
      </vt:variant>
    </vt:vector>
  </HeadingPairs>
  <TitlesOfParts>
    <vt:vector size="34" baseType="lpstr">
      <vt:lpstr>ＭＳ Ｐゴシック</vt:lpstr>
      <vt:lpstr>Arial</vt:lpstr>
      <vt:lpstr>Avenir LT Pro 45 Book</vt:lpstr>
      <vt:lpstr>Consolas</vt:lpstr>
      <vt:lpstr>Segoe</vt:lpstr>
      <vt:lpstr>Segoe Light</vt:lpstr>
      <vt:lpstr>Segoe UI</vt:lpstr>
      <vt:lpstr>Segoe UI Black</vt:lpstr>
      <vt:lpstr>Segoe UI Light</vt:lpstr>
      <vt:lpstr>Segoe UI Semibold</vt:lpstr>
      <vt:lpstr>Times New Roman</vt:lpstr>
      <vt:lpstr>Wingdings</vt:lpstr>
      <vt:lpstr>5-30629_Build_Template_WHITE</vt:lpstr>
      <vt:lpstr>5-30629_Build_Template_DARK BLUE</vt:lpstr>
      <vt:lpstr>1_5-30629_Build_Template_WHITE</vt:lpstr>
      <vt:lpstr>1_5-30629_Build_Template_DARK BLUE</vt:lpstr>
      <vt:lpstr>2_5-30629_Build_Template_WHITE</vt:lpstr>
      <vt:lpstr>15_Custom Design</vt:lpstr>
      <vt:lpstr>16_Custom Design</vt:lpstr>
      <vt:lpstr>1WindowsEmbedded_16x9_ratio_MULTI-INDUSTRY_Storyboard</vt:lpstr>
      <vt:lpstr>think-cell Slide</vt:lpstr>
      <vt:lpstr>PowerPoint Presentation</vt:lpstr>
      <vt:lpstr>Agenda</vt:lpstr>
      <vt:lpstr>IoT is an Inflection Point</vt:lpstr>
      <vt:lpstr>IoT Device &amp; Cloud Patterns</vt:lpstr>
      <vt:lpstr>Microsoft Azure IoT services </vt:lpstr>
      <vt:lpstr>Azure IoT Suite</vt:lpstr>
      <vt:lpstr>Many aspects of connectivity</vt:lpstr>
      <vt:lpstr>Device provisioning</vt:lpstr>
      <vt:lpstr>Device-to-cloud messages</vt:lpstr>
      <vt:lpstr>Cloud-to-device messages</vt:lpstr>
      <vt:lpstr>Azure IoT Suite: IoT Hub</vt:lpstr>
      <vt:lpstr>Azure IoT Suite SDKs</vt:lpstr>
      <vt:lpstr>Azure IoT Services Reference Architectur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et of Things Overview</dc:title>
  <dc:subject>Build 2015</dc:subject>
  <dc:creator>Kate Kuzel (Silver Fox)</dc:creator>
  <cp:keywords>Build 2015</cp:keywords>
  <dc:description>Template: Mitchell Derrey, Silver Fox Productions
Formatting: 
Audience Type:</dc:description>
  <cp:lastModifiedBy>Ritesh Modi</cp:lastModifiedBy>
  <cp:revision>16</cp:revision>
  <dcterms:created xsi:type="dcterms:W3CDTF">2015-04-28T17:50:33Z</dcterms:created>
  <dcterms:modified xsi:type="dcterms:W3CDTF">2018-02-25T18:2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73;#Moscone Center|d4f36a2e-dd0d-4424-990f-7c93b4e9f063</vt:lpwstr>
  </property>
  <property fmtid="{D5CDD505-2E9C-101B-9397-08002B2CF9AE}" pid="7" name="Track">
    <vt:lpwstr/>
  </property>
  <property fmtid="{D5CDD505-2E9C-101B-9397-08002B2CF9AE}" pid="8" name="Event Location">
    <vt:lpwstr>172;#San Francisco|84dfcb53-432b-499d-8965-93d483d36b4a</vt:lpwstr>
  </property>
  <property fmtid="{D5CDD505-2E9C-101B-9397-08002B2CF9AE}" pid="9" name="Campaign">
    <vt:lpwstr/>
  </property>
  <property fmtid="{D5CDD505-2E9C-101B-9397-08002B2CF9AE}" pid="10" name="IsMyDocuments">
    <vt:bool>true</vt:bool>
  </property>
  <property fmtid="{D5CDD505-2E9C-101B-9397-08002B2CF9AE}" pid="11" name="Audience1">
    <vt:lpwstr/>
  </property>
  <property fmtid="{D5CDD505-2E9C-101B-9397-08002B2CF9AE}" pid="12" name="TaxKeyword">
    <vt:lpwstr>170;#Build 2015|54419920-0a06-43b0-b2df-79127b266d93</vt:lpwstr>
  </property>
  <property fmtid="{D5CDD505-2E9C-101B-9397-08002B2CF9AE}" pid="13" name="Event Name">
    <vt:lpwstr>171;#BUILD|58542b36-5bf5-46a6-a53f-a41fb7a73785</vt:lpwstr>
  </property>
</Properties>
</file>